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embeddings/oleObject1.bin" ContentType="application/vnd.openxmlformats-officedocument.oleObject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2.bin" ContentType="application/vnd.openxmlformats-officedocument.oleObject"/>
  <Override PartName="/ppt/charts/chart1.xml" ContentType="application/vnd.openxmlformats-officedocument.drawingml.chart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3.bin" ContentType="application/vnd.openxmlformats-officedocument.oleObject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4.bin" ContentType="application/vnd.openxmlformats-officedocument.oleObject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7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8.xml" ContentType="application/vnd.openxmlformats-officedocument.presentationml.notesSlide+xml"/>
  <Override PartName="/ppt/embeddings/oleObject5.bin" ContentType="application/vnd.openxmlformats-officedocument.oleObject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9.xml" ContentType="application/vnd.openxmlformats-officedocument.presentationml.notesSlide+xml"/>
  <Override PartName="/ppt/embeddings/oleObject6.bin" ContentType="application/vnd.openxmlformats-officedocument.oleObject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0.xml" ContentType="application/vnd.openxmlformats-officedocument.presentationml.notesSlide+xml"/>
  <Override PartName="/ppt/embeddings/oleObject7.bin" ContentType="application/vnd.openxmlformats-officedocument.oleObject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1.xml" ContentType="application/vnd.openxmlformats-officedocument.presentationml.notesSlide+xml"/>
  <Override PartName="/ppt/embeddings/oleObject8.bin" ContentType="application/vnd.openxmlformats-officedocument.oleObject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2.xml" ContentType="application/vnd.openxmlformats-officedocument.presentationml.notesSlide+xml"/>
  <Override PartName="/ppt/embeddings/oleObject9.bin" ContentType="application/vnd.openxmlformats-officedocument.oleObject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69.xml" ContentType="application/vnd.openxmlformats-officedocument.presentationml.tags+xml"/>
  <Override PartName="/ppt/notesSlides/notesSlide13.xml" ContentType="application/vnd.openxmlformats-officedocument.presentationml.notesSlide+xml"/>
  <Override PartName="/ppt/embeddings/oleObject10.bin" ContentType="application/vnd.openxmlformats-officedocument.oleObject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4.xml" ContentType="application/vnd.openxmlformats-officedocument.presentationml.notesSlide+xml"/>
  <Override PartName="/ppt/embeddings/oleObject11.bin" ContentType="application/vnd.openxmlformats-officedocument.oleObject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15.xml" ContentType="application/vnd.openxmlformats-officedocument.presentationml.notesSlide+xml"/>
  <Override PartName="/ppt/embeddings/oleObject12.bin" ContentType="application/vnd.openxmlformats-officedocument.oleObject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16.xml" ContentType="application/vnd.openxmlformats-officedocument.presentationml.notesSl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7.xml" ContentType="application/vnd.openxmlformats-officedocument.presentationml.notesSlide+xml"/>
  <Override PartName="/ppt/embeddings/oleObject13.bin" ContentType="application/vnd.openxmlformats-officedocument.oleObject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8.xml" ContentType="application/vnd.openxmlformats-officedocument.presentationml.notesSlide+xml"/>
  <Override PartName="/ppt/embeddings/oleObject14.bin" ContentType="application/vnd.openxmlformats-officedocument.oleObject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9.xml" ContentType="application/vnd.openxmlformats-officedocument.presentationml.notesSlide+xml"/>
  <Override PartName="/ppt/embeddings/oleObject15.bin" ContentType="application/vnd.openxmlformats-officedocument.oleObject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20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21.xml" ContentType="application/vnd.openxmlformats-officedocument.presentationml.notesSlide+xml"/>
  <Override PartName="/ppt/embeddings/oleObject16.bin" ContentType="application/vnd.openxmlformats-officedocument.oleObject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22.xml" ContentType="application/vnd.openxmlformats-officedocument.presentationml.notesSlide+xml"/>
  <Override PartName="/ppt/embeddings/oleObject17.bin" ContentType="application/vnd.openxmlformats-officedocument.oleObject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sldIdLst>
    <p:sldId id="327" r:id="rId2"/>
    <p:sldId id="294" r:id="rId3"/>
    <p:sldId id="281" r:id="rId4"/>
    <p:sldId id="279" r:id="rId5"/>
    <p:sldId id="283" r:id="rId6"/>
    <p:sldId id="328" r:id="rId7"/>
    <p:sldId id="329" r:id="rId8"/>
    <p:sldId id="290" r:id="rId9"/>
    <p:sldId id="289" r:id="rId10"/>
    <p:sldId id="330" r:id="rId11"/>
    <p:sldId id="331" r:id="rId12"/>
    <p:sldId id="332" r:id="rId13"/>
    <p:sldId id="333" r:id="rId14"/>
    <p:sldId id="334" r:id="rId15"/>
    <p:sldId id="335" r:id="rId16"/>
    <p:sldId id="336" r:id="rId17"/>
    <p:sldId id="337" r:id="rId18"/>
    <p:sldId id="338" r:id="rId19"/>
    <p:sldId id="339" r:id="rId20"/>
    <p:sldId id="340" r:id="rId21"/>
    <p:sldId id="341" r:id="rId22"/>
    <p:sldId id="342" r:id="rId23"/>
    <p:sldId id="343" r:id="rId24"/>
    <p:sldId id="344" r:id="rId25"/>
    <p:sldId id="345" r:id="rId26"/>
    <p:sldId id="346" r:id="rId27"/>
    <p:sldId id="351" r:id="rId28"/>
    <p:sldId id="348" r:id="rId29"/>
    <p:sldId id="349" r:id="rId30"/>
    <p:sldId id="350" r:id="rId3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21" autoAdjust="0"/>
    <p:restoredTop sz="81453" autoAdjust="0"/>
  </p:normalViewPr>
  <p:slideViewPr>
    <p:cSldViewPr>
      <p:cViewPr>
        <p:scale>
          <a:sx n="70" d="100"/>
          <a:sy n="70" d="100"/>
        </p:scale>
        <p:origin x="-2096" y="-39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notesMaster" Target="notesMasters/notesMaster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printerSettings" Target="printerSettings/printerSettings1.bin"/><Relationship Id="rId34" Type="http://schemas.openxmlformats.org/officeDocument/2006/relationships/presProps" Target="presProps.xml"/><Relationship Id="rId35" Type="http://schemas.openxmlformats.org/officeDocument/2006/relationships/viewProps" Target="viewProps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hashank\AppData\Local\Microsoft\Windows\Temporary%20Internet%20Files\Content.IE5\HPSV4DUN\Charting%20Excel%20Export%20Oct-19-2013%209_35%20PM.xls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F:\Subjects%20-%202nd%20year\Turnaround%20Management\Class%208%20-%20Blackberry%20presentation\BlackBerry%20Limited%20TSX%20BB%20Financials.xls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F:\Subjects%20-%202nd%20year\Turnaround%20Management\Class%208%20-%20Blackberry%20presentation\BlackBerry%20Limited%20TSX%20BB%20Financials.xls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353672706648026"/>
          <c:y val="0.0294117647058823"/>
        </c:manualLayout>
      </c:layout>
      <c:overlay val="0"/>
      <c:spPr>
        <a:noFill/>
        <a:ln w="25400">
          <a:noFill/>
        </a:ln>
      </c:spPr>
      <c:txPr>
        <a:bodyPr/>
        <a:lstStyle/>
        <a:p>
          <a:pPr>
            <a:defRPr sz="1000" b="0" i="0" u="none" strike="noStrike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0915255247236107"/>
          <c:y val="0.142857142857143"/>
          <c:w val="0.89265635224262"/>
          <c:h val="0.60294117647059"/>
        </c:manualLayout>
      </c:layout>
      <c:lineChart>
        <c:grouping val="standard"/>
        <c:varyColors val="0"/>
        <c:ser>
          <c:idx val="0"/>
          <c:order val="0"/>
          <c:tx>
            <c:v>BlackBerry Limited (TSX:BB) - Share Pricing</c:v>
          </c:tx>
          <c:spPr>
            <a:ln w="25400">
              <a:solidFill>
                <a:srgbClr val="003366"/>
              </a:solidFill>
              <a:prstDash val="solid"/>
            </a:ln>
          </c:spPr>
          <c:marker>
            <c:symbol val="none"/>
          </c:marker>
          <c:cat>
            <c:numRef>
              <c:f>'Chart 1 with Data'!$A$34:$A$1288</c:f>
              <c:numCache>
                <c:formatCode>[$-409]mmm\-dd\-yyyy;@</c:formatCode>
                <c:ptCount val="1255"/>
                <c:pt idx="0">
                  <c:v>39741.0</c:v>
                </c:pt>
                <c:pt idx="1">
                  <c:v>39742.0</c:v>
                </c:pt>
                <c:pt idx="2">
                  <c:v>39743.0</c:v>
                </c:pt>
                <c:pt idx="3">
                  <c:v>39744.0</c:v>
                </c:pt>
                <c:pt idx="4">
                  <c:v>39745.0</c:v>
                </c:pt>
                <c:pt idx="5">
                  <c:v>39748.0</c:v>
                </c:pt>
                <c:pt idx="6">
                  <c:v>39749.0</c:v>
                </c:pt>
                <c:pt idx="7">
                  <c:v>39750.0</c:v>
                </c:pt>
                <c:pt idx="8">
                  <c:v>39751.0</c:v>
                </c:pt>
                <c:pt idx="9">
                  <c:v>39752.0</c:v>
                </c:pt>
                <c:pt idx="10">
                  <c:v>39755.0</c:v>
                </c:pt>
                <c:pt idx="11">
                  <c:v>39756.0</c:v>
                </c:pt>
                <c:pt idx="12">
                  <c:v>39757.0</c:v>
                </c:pt>
                <c:pt idx="13">
                  <c:v>39758.0</c:v>
                </c:pt>
                <c:pt idx="14">
                  <c:v>39759.0</c:v>
                </c:pt>
                <c:pt idx="15">
                  <c:v>39762.0</c:v>
                </c:pt>
                <c:pt idx="16">
                  <c:v>39763.0</c:v>
                </c:pt>
                <c:pt idx="17">
                  <c:v>39764.0</c:v>
                </c:pt>
                <c:pt idx="18">
                  <c:v>39765.0</c:v>
                </c:pt>
                <c:pt idx="19">
                  <c:v>39766.0</c:v>
                </c:pt>
                <c:pt idx="20">
                  <c:v>39769.0</c:v>
                </c:pt>
                <c:pt idx="21">
                  <c:v>39770.0</c:v>
                </c:pt>
                <c:pt idx="22">
                  <c:v>39771.0</c:v>
                </c:pt>
                <c:pt idx="23">
                  <c:v>39772.0</c:v>
                </c:pt>
                <c:pt idx="24">
                  <c:v>39773.0</c:v>
                </c:pt>
                <c:pt idx="25">
                  <c:v>39776.0</c:v>
                </c:pt>
                <c:pt idx="26">
                  <c:v>39777.0</c:v>
                </c:pt>
                <c:pt idx="27">
                  <c:v>39778.0</c:v>
                </c:pt>
                <c:pt idx="28">
                  <c:v>39779.0</c:v>
                </c:pt>
                <c:pt idx="29">
                  <c:v>39780.0</c:v>
                </c:pt>
                <c:pt idx="30">
                  <c:v>39783.0</c:v>
                </c:pt>
                <c:pt idx="31">
                  <c:v>39784.0</c:v>
                </c:pt>
                <c:pt idx="32">
                  <c:v>39785.0</c:v>
                </c:pt>
                <c:pt idx="33">
                  <c:v>39786.0</c:v>
                </c:pt>
                <c:pt idx="34">
                  <c:v>39787.0</c:v>
                </c:pt>
                <c:pt idx="35">
                  <c:v>39790.0</c:v>
                </c:pt>
                <c:pt idx="36">
                  <c:v>39791.0</c:v>
                </c:pt>
                <c:pt idx="37">
                  <c:v>39792.0</c:v>
                </c:pt>
                <c:pt idx="38">
                  <c:v>39793.0</c:v>
                </c:pt>
                <c:pt idx="39">
                  <c:v>39794.0</c:v>
                </c:pt>
                <c:pt idx="40">
                  <c:v>39797.0</c:v>
                </c:pt>
                <c:pt idx="41">
                  <c:v>39798.0</c:v>
                </c:pt>
                <c:pt idx="42">
                  <c:v>39799.0</c:v>
                </c:pt>
                <c:pt idx="43">
                  <c:v>39800.0</c:v>
                </c:pt>
                <c:pt idx="44">
                  <c:v>39801.0</c:v>
                </c:pt>
                <c:pt idx="45">
                  <c:v>39804.0</c:v>
                </c:pt>
                <c:pt idx="46">
                  <c:v>39805.0</c:v>
                </c:pt>
                <c:pt idx="47">
                  <c:v>39806.0</c:v>
                </c:pt>
                <c:pt idx="48">
                  <c:v>39811.0</c:v>
                </c:pt>
                <c:pt idx="49">
                  <c:v>39812.0</c:v>
                </c:pt>
                <c:pt idx="50">
                  <c:v>39813.0</c:v>
                </c:pt>
                <c:pt idx="51">
                  <c:v>39815.0</c:v>
                </c:pt>
                <c:pt idx="52">
                  <c:v>39818.0</c:v>
                </c:pt>
                <c:pt idx="53">
                  <c:v>39819.0</c:v>
                </c:pt>
                <c:pt idx="54">
                  <c:v>39820.0</c:v>
                </c:pt>
                <c:pt idx="55">
                  <c:v>39821.0</c:v>
                </c:pt>
                <c:pt idx="56">
                  <c:v>39822.0</c:v>
                </c:pt>
                <c:pt idx="57">
                  <c:v>39825.0</c:v>
                </c:pt>
                <c:pt idx="58">
                  <c:v>39826.0</c:v>
                </c:pt>
                <c:pt idx="59">
                  <c:v>39827.0</c:v>
                </c:pt>
                <c:pt idx="60">
                  <c:v>39828.0</c:v>
                </c:pt>
                <c:pt idx="61">
                  <c:v>39829.0</c:v>
                </c:pt>
                <c:pt idx="62">
                  <c:v>39832.0</c:v>
                </c:pt>
                <c:pt idx="63">
                  <c:v>39833.0</c:v>
                </c:pt>
                <c:pt idx="64">
                  <c:v>39834.0</c:v>
                </c:pt>
                <c:pt idx="65">
                  <c:v>39835.0</c:v>
                </c:pt>
                <c:pt idx="66">
                  <c:v>39836.0</c:v>
                </c:pt>
                <c:pt idx="67">
                  <c:v>39839.0</c:v>
                </c:pt>
                <c:pt idx="68">
                  <c:v>39840.0</c:v>
                </c:pt>
                <c:pt idx="69">
                  <c:v>39841.0</c:v>
                </c:pt>
                <c:pt idx="70">
                  <c:v>39842.0</c:v>
                </c:pt>
                <c:pt idx="71">
                  <c:v>39843.0</c:v>
                </c:pt>
                <c:pt idx="72">
                  <c:v>39846.0</c:v>
                </c:pt>
                <c:pt idx="73">
                  <c:v>39847.0</c:v>
                </c:pt>
                <c:pt idx="74">
                  <c:v>39848.0</c:v>
                </c:pt>
                <c:pt idx="75">
                  <c:v>39849.0</c:v>
                </c:pt>
                <c:pt idx="76">
                  <c:v>39850.0</c:v>
                </c:pt>
                <c:pt idx="77">
                  <c:v>39853.0</c:v>
                </c:pt>
                <c:pt idx="78">
                  <c:v>39854.0</c:v>
                </c:pt>
                <c:pt idx="79">
                  <c:v>39855.0</c:v>
                </c:pt>
                <c:pt idx="80">
                  <c:v>39856.0</c:v>
                </c:pt>
                <c:pt idx="81">
                  <c:v>39857.0</c:v>
                </c:pt>
                <c:pt idx="82">
                  <c:v>39861.0</c:v>
                </c:pt>
                <c:pt idx="83">
                  <c:v>39862.0</c:v>
                </c:pt>
                <c:pt idx="84">
                  <c:v>39863.0</c:v>
                </c:pt>
                <c:pt idx="85">
                  <c:v>39864.0</c:v>
                </c:pt>
                <c:pt idx="86">
                  <c:v>39867.0</c:v>
                </c:pt>
                <c:pt idx="87">
                  <c:v>39868.0</c:v>
                </c:pt>
                <c:pt idx="88">
                  <c:v>39869.0</c:v>
                </c:pt>
                <c:pt idx="89">
                  <c:v>39870.0</c:v>
                </c:pt>
                <c:pt idx="90">
                  <c:v>39871.0</c:v>
                </c:pt>
                <c:pt idx="91">
                  <c:v>39874.0</c:v>
                </c:pt>
                <c:pt idx="92">
                  <c:v>39875.0</c:v>
                </c:pt>
                <c:pt idx="93">
                  <c:v>39876.0</c:v>
                </c:pt>
                <c:pt idx="94">
                  <c:v>39877.0</c:v>
                </c:pt>
                <c:pt idx="95">
                  <c:v>39878.0</c:v>
                </c:pt>
                <c:pt idx="96">
                  <c:v>39881.0</c:v>
                </c:pt>
                <c:pt idx="97">
                  <c:v>39882.0</c:v>
                </c:pt>
                <c:pt idx="98">
                  <c:v>39883.0</c:v>
                </c:pt>
                <c:pt idx="99">
                  <c:v>39884.0</c:v>
                </c:pt>
                <c:pt idx="100">
                  <c:v>39885.0</c:v>
                </c:pt>
                <c:pt idx="101">
                  <c:v>39888.0</c:v>
                </c:pt>
                <c:pt idx="102">
                  <c:v>39889.0</c:v>
                </c:pt>
                <c:pt idx="103">
                  <c:v>39890.0</c:v>
                </c:pt>
                <c:pt idx="104">
                  <c:v>39891.0</c:v>
                </c:pt>
                <c:pt idx="105">
                  <c:v>39892.0</c:v>
                </c:pt>
                <c:pt idx="106">
                  <c:v>39895.0</c:v>
                </c:pt>
                <c:pt idx="107">
                  <c:v>39896.0</c:v>
                </c:pt>
                <c:pt idx="108">
                  <c:v>39897.0</c:v>
                </c:pt>
                <c:pt idx="109">
                  <c:v>39898.0</c:v>
                </c:pt>
                <c:pt idx="110">
                  <c:v>39899.0</c:v>
                </c:pt>
                <c:pt idx="111">
                  <c:v>39902.0</c:v>
                </c:pt>
                <c:pt idx="112">
                  <c:v>39903.0</c:v>
                </c:pt>
                <c:pt idx="113">
                  <c:v>39904.0</c:v>
                </c:pt>
                <c:pt idx="114">
                  <c:v>39905.0</c:v>
                </c:pt>
                <c:pt idx="115">
                  <c:v>39906.0</c:v>
                </c:pt>
                <c:pt idx="116">
                  <c:v>39909.0</c:v>
                </c:pt>
                <c:pt idx="117">
                  <c:v>39910.0</c:v>
                </c:pt>
                <c:pt idx="118">
                  <c:v>39911.0</c:v>
                </c:pt>
                <c:pt idx="119">
                  <c:v>39912.0</c:v>
                </c:pt>
                <c:pt idx="120">
                  <c:v>39916.0</c:v>
                </c:pt>
                <c:pt idx="121">
                  <c:v>39917.0</c:v>
                </c:pt>
                <c:pt idx="122">
                  <c:v>39918.0</c:v>
                </c:pt>
                <c:pt idx="123">
                  <c:v>39919.0</c:v>
                </c:pt>
                <c:pt idx="124">
                  <c:v>39920.0</c:v>
                </c:pt>
                <c:pt idx="125">
                  <c:v>39923.0</c:v>
                </c:pt>
                <c:pt idx="126">
                  <c:v>39924.0</c:v>
                </c:pt>
                <c:pt idx="127">
                  <c:v>39925.0</c:v>
                </c:pt>
                <c:pt idx="128">
                  <c:v>39926.0</c:v>
                </c:pt>
                <c:pt idx="129">
                  <c:v>39927.0</c:v>
                </c:pt>
                <c:pt idx="130">
                  <c:v>39930.0</c:v>
                </c:pt>
                <c:pt idx="131">
                  <c:v>39931.0</c:v>
                </c:pt>
                <c:pt idx="132">
                  <c:v>39932.0</c:v>
                </c:pt>
                <c:pt idx="133">
                  <c:v>39933.0</c:v>
                </c:pt>
                <c:pt idx="134">
                  <c:v>39934.0</c:v>
                </c:pt>
                <c:pt idx="135">
                  <c:v>39937.0</c:v>
                </c:pt>
                <c:pt idx="136">
                  <c:v>39938.0</c:v>
                </c:pt>
                <c:pt idx="137">
                  <c:v>39939.0</c:v>
                </c:pt>
                <c:pt idx="138">
                  <c:v>39940.0</c:v>
                </c:pt>
                <c:pt idx="139">
                  <c:v>39941.0</c:v>
                </c:pt>
                <c:pt idx="140">
                  <c:v>39944.0</c:v>
                </c:pt>
                <c:pt idx="141">
                  <c:v>39945.0</c:v>
                </c:pt>
                <c:pt idx="142">
                  <c:v>39946.0</c:v>
                </c:pt>
                <c:pt idx="143">
                  <c:v>39947.0</c:v>
                </c:pt>
                <c:pt idx="144">
                  <c:v>39948.0</c:v>
                </c:pt>
                <c:pt idx="145">
                  <c:v>39952.0</c:v>
                </c:pt>
                <c:pt idx="146">
                  <c:v>39953.0</c:v>
                </c:pt>
                <c:pt idx="147">
                  <c:v>39954.0</c:v>
                </c:pt>
                <c:pt idx="148">
                  <c:v>39955.0</c:v>
                </c:pt>
                <c:pt idx="149">
                  <c:v>39958.0</c:v>
                </c:pt>
                <c:pt idx="150">
                  <c:v>39959.0</c:v>
                </c:pt>
                <c:pt idx="151">
                  <c:v>39960.0</c:v>
                </c:pt>
                <c:pt idx="152">
                  <c:v>39961.0</c:v>
                </c:pt>
                <c:pt idx="153">
                  <c:v>39962.0</c:v>
                </c:pt>
                <c:pt idx="154">
                  <c:v>39965.0</c:v>
                </c:pt>
                <c:pt idx="155">
                  <c:v>39966.0</c:v>
                </c:pt>
                <c:pt idx="156">
                  <c:v>39967.0</c:v>
                </c:pt>
                <c:pt idx="157">
                  <c:v>39968.0</c:v>
                </c:pt>
                <c:pt idx="158">
                  <c:v>39969.0</c:v>
                </c:pt>
                <c:pt idx="159">
                  <c:v>39972.0</c:v>
                </c:pt>
                <c:pt idx="160">
                  <c:v>39973.0</c:v>
                </c:pt>
                <c:pt idx="161">
                  <c:v>39974.0</c:v>
                </c:pt>
                <c:pt idx="162">
                  <c:v>39975.0</c:v>
                </c:pt>
                <c:pt idx="163">
                  <c:v>39976.0</c:v>
                </c:pt>
                <c:pt idx="164">
                  <c:v>39979.0</c:v>
                </c:pt>
                <c:pt idx="165">
                  <c:v>39980.0</c:v>
                </c:pt>
                <c:pt idx="166">
                  <c:v>39981.0</c:v>
                </c:pt>
                <c:pt idx="167">
                  <c:v>39982.0</c:v>
                </c:pt>
                <c:pt idx="168">
                  <c:v>39983.0</c:v>
                </c:pt>
                <c:pt idx="169">
                  <c:v>39986.0</c:v>
                </c:pt>
                <c:pt idx="170">
                  <c:v>39987.0</c:v>
                </c:pt>
                <c:pt idx="171">
                  <c:v>39988.0</c:v>
                </c:pt>
                <c:pt idx="172">
                  <c:v>39989.0</c:v>
                </c:pt>
                <c:pt idx="173">
                  <c:v>39990.0</c:v>
                </c:pt>
                <c:pt idx="174">
                  <c:v>39993.0</c:v>
                </c:pt>
                <c:pt idx="175">
                  <c:v>39994.0</c:v>
                </c:pt>
                <c:pt idx="176">
                  <c:v>39996.0</c:v>
                </c:pt>
                <c:pt idx="177">
                  <c:v>39997.0</c:v>
                </c:pt>
                <c:pt idx="178">
                  <c:v>40000.0</c:v>
                </c:pt>
                <c:pt idx="179">
                  <c:v>40001.0</c:v>
                </c:pt>
                <c:pt idx="180">
                  <c:v>40002.0</c:v>
                </c:pt>
                <c:pt idx="181">
                  <c:v>40003.0</c:v>
                </c:pt>
                <c:pt idx="182">
                  <c:v>40004.0</c:v>
                </c:pt>
                <c:pt idx="183">
                  <c:v>40007.0</c:v>
                </c:pt>
                <c:pt idx="184">
                  <c:v>40008.0</c:v>
                </c:pt>
                <c:pt idx="185">
                  <c:v>40009.0</c:v>
                </c:pt>
                <c:pt idx="186">
                  <c:v>40010.0</c:v>
                </c:pt>
                <c:pt idx="187">
                  <c:v>40011.0</c:v>
                </c:pt>
                <c:pt idx="188">
                  <c:v>40014.0</c:v>
                </c:pt>
                <c:pt idx="189">
                  <c:v>40015.0</c:v>
                </c:pt>
                <c:pt idx="190">
                  <c:v>40016.0</c:v>
                </c:pt>
                <c:pt idx="191">
                  <c:v>40017.0</c:v>
                </c:pt>
                <c:pt idx="192">
                  <c:v>40018.0</c:v>
                </c:pt>
                <c:pt idx="193">
                  <c:v>40021.0</c:v>
                </c:pt>
                <c:pt idx="194">
                  <c:v>40022.0</c:v>
                </c:pt>
                <c:pt idx="195">
                  <c:v>40023.0</c:v>
                </c:pt>
                <c:pt idx="196">
                  <c:v>40024.0</c:v>
                </c:pt>
                <c:pt idx="197">
                  <c:v>40025.0</c:v>
                </c:pt>
                <c:pt idx="198">
                  <c:v>40029.0</c:v>
                </c:pt>
                <c:pt idx="199">
                  <c:v>40030.0</c:v>
                </c:pt>
                <c:pt idx="200">
                  <c:v>40031.0</c:v>
                </c:pt>
                <c:pt idx="201">
                  <c:v>40032.0</c:v>
                </c:pt>
                <c:pt idx="202">
                  <c:v>40035.0</c:v>
                </c:pt>
                <c:pt idx="203">
                  <c:v>40036.0</c:v>
                </c:pt>
                <c:pt idx="204">
                  <c:v>40037.0</c:v>
                </c:pt>
                <c:pt idx="205">
                  <c:v>40038.0</c:v>
                </c:pt>
                <c:pt idx="206">
                  <c:v>40039.0</c:v>
                </c:pt>
                <c:pt idx="207">
                  <c:v>40042.0</c:v>
                </c:pt>
                <c:pt idx="208">
                  <c:v>40043.0</c:v>
                </c:pt>
                <c:pt idx="209">
                  <c:v>40044.0</c:v>
                </c:pt>
                <c:pt idx="210">
                  <c:v>40045.0</c:v>
                </c:pt>
                <c:pt idx="211">
                  <c:v>40046.0</c:v>
                </c:pt>
                <c:pt idx="212">
                  <c:v>40049.0</c:v>
                </c:pt>
                <c:pt idx="213">
                  <c:v>40050.0</c:v>
                </c:pt>
                <c:pt idx="214">
                  <c:v>40051.0</c:v>
                </c:pt>
                <c:pt idx="215">
                  <c:v>40052.0</c:v>
                </c:pt>
                <c:pt idx="216">
                  <c:v>40053.0</c:v>
                </c:pt>
                <c:pt idx="217">
                  <c:v>40056.0</c:v>
                </c:pt>
                <c:pt idx="218">
                  <c:v>40057.0</c:v>
                </c:pt>
                <c:pt idx="219">
                  <c:v>40058.0</c:v>
                </c:pt>
                <c:pt idx="220">
                  <c:v>40059.0</c:v>
                </c:pt>
                <c:pt idx="221">
                  <c:v>40060.0</c:v>
                </c:pt>
                <c:pt idx="222">
                  <c:v>40064.0</c:v>
                </c:pt>
                <c:pt idx="223">
                  <c:v>40065.0</c:v>
                </c:pt>
                <c:pt idx="224">
                  <c:v>40066.0</c:v>
                </c:pt>
                <c:pt idx="225">
                  <c:v>40067.0</c:v>
                </c:pt>
                <c:pt idx="226">
                  <c:v>40070.0</c:v>
                </c:pt>
                <c:pt idx="227">
                  <c:v>40071.0</c:v>
                </c:pt>
                <c:pt idx="228">
                  <c:v>40072.0</c:v>
                </c:pt>
                <c:pt idx="229">
                  <c:v>40073.0</c:v>
                </c:pt>
                <c:pt idx="230">
                  <c:v>40074.0</c:v>
                </c:pt>
                <c:pt idx="231">
                  <c:v>40077.0</c:v>
                </c:pt>
                <c:pt idx="232">
                  <c:v>40078.0</c:v>
                </c:pt>
                <c:pt idx="233">
                  <c:v>40079.0</c:v>
                </c:pt>
                <c:pt idx="234">
                  <c:v>40080.0</c:v>
                </c:pt>
                <c:pt idx="235">
                  <c:v>40081.0</c:v>
                </c:pt>
                <c:pt idx="236">
                  <c:v>40084.0</c:v>
                </c:pt>
                <c:pt idx="237">
                  <c:v>40085.0</c:v>
                </c:pt>
                <c:pt idx="238">
                  <c:v>40086.0</c:v>
                </c:pt>
                <c:pt idx="239">
                  <c:v>40087.0</c:v>
                </c:pt>
                <c:pt idx="240">
                  <c:v>40088.0</c:v>
                </c:pt>
                <c:pt idx="241">
                  <c:v>40091.0</c:v>
                </c:pt>
                <c:pt idx="242">
                  <c:v>40092.0</c:v>
                </c:pt>
                <c:pt idx="243">
                  <c:v>40093.0</c:v>
                </c:pt>
                <c:pt idx="244">
                  <c:v>40094.0</c:v>
                </c:pt>
                <c:pt idx="245">
                  <c:v>40095.0</c:v>
                </c:pt>
                <c:pt idx="246">
                  <c:v>40099.0</c:v>
                </c:pt>
                <c:pt idx="247">
                  <c:v>40100.0</c:v>
                </c:pt>
                <c:pt idx="248">
                  <c:v>40101.0</c:v>
                </c:pt>
                <c:pt idx="249">
                  <c:v>40102.0</c:v>
                </c:pt>
                <c:pt idx="250">
                  <c:v>40105.0</c:v>
                </c:pt>
                <c:pt idx="251">
                  <c:v>40106.0</c:v>
                </c:pt>
                <c:pt idx="252">
                  <c:v>40107.0</c:v>
                </c:pt>
                <c:pt idx="253">
                  <c:v>40108.0</c:v>
                </c:pt>
                <c:pt idx="254">
                  <c:v>40109.0</c:v>
                </c:pt>
                <c:pt idx="255">
                  <c:v>40112.0</c:v>
                </c:pt>
                <c:pt idx="256">
                  <c:v>40113.0</c:v>
                </c:pt>
                <c:pt idx="257">
                  <c:v>40114.0</c:v>
                </c:pt>
                <c:pt idx="258">
                  <c:v>40115.0</c:v>
                </c:pt>
                <c:pt idx="259">
                  <c:v>40116.0</c:v>
                </c:pt>
                <c:pt idx="260">
                  <c:v>40119.0</c:v>
                </c:pt>
                <c:pt idx="261">
                  <c:v>40120.0</c:v>
                </c:pt>
                <c:pt idx="262">
                  <c:v>40121.0</c:v>
                </c:pt>
                <c:pt idx="263">
                  <c:v>40122.0</c:v>
                </c:pt>
                <c:pt idx="264">
                  <c:v>40123.0</c:v>
                </c:pt>
                <c:pt idx="265">
                  <c:v>40126.0</c:v>
                </c:pt>
                <c:pt idx="266">
                  <c:v>40127.0</c:v>
                </c:pt>
                <c:pt idx="267">
                  <c:v>40128.0</c:v>
                </c:pt>
                <c:pt idx="268">
                  <c:v>40129.0</c:v>
                </c:pt>
                <c:pt idx="269">
                  <c:v>40130.0</c:v>
                </c:pt>
                <c:pt idx="270">
                  <c:v>40133.0</c:v>
                </c:pt>
                <c:pt idx="271">
                  <c:v>40134.0</c:v>
                </c:pt>
                <c:pt idx="272">
                  <c:v>40135.0</c:v>
                </c:pt>
                <c:pt idx="273">
                  <c:v>40136.0</c:v>
                </c:pt>
                <c:pt idx="274">
                  <c:v>40137.0</c:v>
                </c:pt>
                <c:pt idx="275">
                  <c:v>40140.0</c:v>
                </c:pt>
                <c:pt idx="276">
                  <c:v>40141.0</c:v>
                </c:pt>
                <c:pt idx="277">
                  <c:v>40142.0</c:v>
                </c:pt>
                <c:pt idx="278">
                  <c:v>40143.0</c:v>
                </c:pt>
                <c:pt idx="279">
                  <c:v>40144.0</c:v>
                </c:pt>
                <c:pt idx="280">
                  <c:v>40147.0</c:v>
                </c:pt>
                <c:pt idx="281">
                  <c:v>40148.0</c:v>
                </c:pt>
                <c:pt idx="282">
                  <c:v>40149.0</c:v>
                </c:pt>
                <c:pt idx="283">
                  <c:v>40150.0</c:v>
                </c:pt>
                <c:pt idx="284">
                  <c:v>40151.0</c:v>
                </c:pt>
                <c:pt idx="285">
                  <c:v>40154.0</c:v>
                </c:pt>
                <c:pt idx="286">
                  <c:v>40155.0</c:v>
                </c:pt>
                <c:pt idx="287">
                  <c:v>40156.0</c:v>
                </c:pt>
                <c:pt idx="288">
                  <c:v>40157.0</c:v>
                </c:pt>
                <c:pt idx="289">
                  <c:v>40158.0</c:v>
                </c:pt>
                <c:pt idx="290">
                  <c:v>40161.0</c:v>
                </c:pt>
                <c:pt idx="291">
                  <c:v>40162.0</c:v>
                </c:pt>
                <c:pt idx="292">
                  <c:v>40163.0</c:v>
                </c:pt>
                <c:pt idx="293">
                  <c:v>40164.0</c:v>
                </c:pt>
                <c:pt idx="294">
                  <c:v>40165.0</c:v>
                </c:pt>
                <c:pt idx="295">
                  <c:v>40168.0</c:v>
                </c:pt>
                <c:pt idx="296">
                  <c:v>40169.0</c:v>
                </c:pt>
                <c:pt idx="297">
                  <c:v>40170.0</c:v>
                </c:pt>
                <c:pt idx="298">
                  <c:v>40171.0</c:v>
                </c:pt>
                <c:pt idx="299">
                  <c:v>40176.0</c:v>
                </c:pt>
                <c:pt idx="300">
                  <c:v>40177.0</c:v>
                </c:pt>
                <c:pt idx="301">
                  <c:v>40178.0</c:v>
                </c:pt>
                <c:pt idx="302">
                  <c:v>40182.0</c:v>
                </c:pt>
                <c:pt idx="303">
                  <c:v>40183.0</c:v>
                </c:pt>
                <c:pt idx="304">
                  <c:v>40184.0</c:v>
                </c:pt>
                <c:pt idx="305">
                  <c:v>40185.0</c:v>
                </c:pt>
                <c:pt idx="306">
                  <c:v>40186.0</c:v>
                </c:pt>
                <c:pt idx="307">
                  <c:v>40189.0</c:v>
                </c:pt>
                <c:pt idx="308">
                  <c:v>40190.0</c:v>
                </c:pt>
                <c:pt idx="309">
                  <c:v>40191.0</c:v>
                </c:pt>
                <c:pt idx="310">
                  <c:v>40192.0</c:v>
                </c:pt>
                <c:pt idx="311">
                  <c:v>40193.0</c:v>
                </c:pt>
                <c:pt idx="312">
                  <c:v>40196.0</c:v>
                </c:pt>
                <c:pt idx="313">
                  <c:v>40197.0</c:v>
                </c:pt>
                <c:pt idx="314">
                  <c:v>40198.0</c:v>
                </c:pt>
                <c:pt idx="315">
                  <c:v>40199.0</c:v>
                </c:pt>
                <c:pt idx="316">
                  <c:v>40200.0</c:v>
                </c:pt>
                <c:pt idx="317">
                  <c:v>40203.0</c:v>
                </c:pt>
                <c:pt idx="318">
                  <c:v>40204.0</c:v>
                </c:pt>
                <c:pt idx="319">
                  <c:v>40205.0</c:v>
                </c:pt>
                <c:pt idx="320">
                  <c:v>40206.0</c:v>
                </c:pt>
                <c:pt idx="321">
                  <c:v>40207.0</c:v>
                </c:pt>
                <c:pt idx="322">
                  <c:v>40210.0</c:v>
                </c:pt>
                <c:pt idx="323">
                  <c:v>40211.0</c:v>
                </c:pt>
                <c:pt idx="324">
                  <c:v>40212.0</c:v>
                </c:pt>
                <c:pt idx="325">
                  <c:v>40213.0</c:v>
                </c:pt>
                <c:pt idx="326">
                  <c:v>40214.0</c:v>
                </c:pt>
                <c:pt idx="327">
                  <c:v>40217.0</c:v>
                </c:pt>
                <c:pt idx="328">
                  <c:v>40218.0</c:v>
                </c:pt>
                <c:pt idx="329">
                  <c:v>40219.0</c:v>
                </c:pt>
                <c:pt idx="330">
                  <c:v>40220.0</c:v>
                </c:pt>
                <c:pt idx="331">
                  <c:v>40221.0</c:v>
                </c:pt>
                <c:pt idx="332">
                  <c:v>40225.0</c:v>
                </c:pt>
                <c:pt idx="333">
                  <c:v>40226.0</c:v>
                </c:pt>
                <c:pt idx="334">
                  <c:v>40227.0</c:v>
                </c:pt>
                <c:pt idx="335">
                  <c:v>40228.0</c:v>
                </c:pt>
                <c:pt idx="336">
                  <c:v>40231.0</c:v>
                </c:pt>
                <c:pt idx="337">
                  <c:v>40232.0</c:v>
                </c:pt>
                <c:pt idx="338">
                  <c:v>40233.0</c:v>
                </c:pt>
                <c:pt idx="339">
                  <c:v>40234.0</c:v>
                </c:pt>
                <c:pt idx="340">
                  <c:v>40235.0</c:v>
                </c:pt>
                <c:pt idx="341">
                  <c:v>40238.0</c:v>
                </c:pt>
                <c:pt idx="342">
                  <c:v>40239.0</c:v>
                </c:pt>
                <c:pt idx="343">
                  <c:v>40240.0</c:v>
                </c:pt>
                <c:pt idx="344">
                  <c:v>40241.0</c:v>
                </c:pt>
                <c:pt idx="345">
                  <c:v>40242.0</c:v>
                </c:pt>
                <c:pt idx="346">
                  <c:v>40245.0</c:v>
                </c:pt>
                <c:pt idx="347">
                  <c:v>40246.0</c:v>
                </c:pt>
                <c:pt idx="348">
                  <c:v>40247.0</c:v>
                </c:pt>
                <c:pt idx="349">
                  <c:v>40248.0</c:v>
                </c:pt>
                <c:pt idx="350">
                  <c:v>40249.0</c:v>
                </c:pt>
                <c:pt idx="351">
                  <c:v>40252.0</c:v>
                </c:pt>
                <c:pt idx="352">
                  <c:v>40253.0</c:v>
                </c:pt>
                <c:pt idx="353">
                  <c:v>40254.0</c:v>
                </c:pt>
                <c:pt idx="354">
                  <c:v>40255.0</c:v>
                </c:pt>
                <c:pt idx="355">
                  <c:v>40256.0</c:v>
                </c:pt>
                <c:pt idx="356">
                  <c:v>40259.0</c:v>
                </c:pt>
                <c:pt idx="357">
                  <c:v>40260.0</c:v>
                </c:pt>
                <c:pt idx="358">
                  <c:v>40261.0</c:v>
                </c:pt>
                <c:pt idx="359">
                  <c:v>40262.0</c:v>
                </c:pt>
                <c:pt idx="360">
                  <c:v>40263.0</c:v>
                </c:pt>
                <c:pt idx="361">
                  <c:v>40266.0</c:v>
                </c:pt>
                <c:pt idx="362">
                  <c:v>40267.0</c:v>
                </c:pt>
                <c:pt idx="363">
                  <c:v>40268.0</c:v>
                </c:pt>
                <c:pt idx="364">
                  <c:v>40269.0</c:v>
                </c:pt>
                <c:pt idx="365">
                  <c:v>40273.0</c:v>
                </c:pt>
                <c:pt idx="366">
                  <c:v>40274.0</c:v>
                </c:pt>
                <c:pt idx="367">
                  <c:v>40275.0</c:v>
                </c:pt>
                <c:pt idx="368">
                  <c:v>40276.0</c:v>
                </c:pt>
                <c:pt idx="369">
                  <c:v>40277.0</c:v>
                </c:pt>
                <c:pt idx="370">
                  <c:v>40280.0</c:v>
                </c:pt>
                <c:pt idx="371">
                  <c:v>40281.0</c:v>
                </c:pt>
                <c:pt idx="372">
                  <c:v>40282.0</c:v>
                </c:pt>
                <c:pt idx="373">
                  <c:v>40283.0</c:v>
                </c:pt>
                <c:pt idx="374">
                  <c:v>40284.0</c:v>
                </c:pt>
                <c:pt idx="375">
                  <c:v>40287.0</c:v>
                </c:pt>
                <c:pt idx="376">
                  <c:v>40288.0</c:v>
                </c:pt>
                <c:pt idx="377">
                  <c:v>40289.0</c:v>
                </c:pt>
                <c:pt idx="378">
                  <c:v>40290.0</c:v>
                </c:pt>
                <c:pt idx="379">
                  <c:v>40291.0</c:v>
                </c:pt>
                <c:pt idx="380">
                  <c:v>40294.0</c:v>
                </c:pt>
                <c:pt idx="381">
                  <c:v>40295.0</c:v>
                </c:pt>
                <c:pt idx="382">
                  <c:v>40296.0</c:v>
                </c:pt>
                <c:pt idx="383">
                  <c:v>40297.0</c:v>
                </c:pt>
                <c:pt idx="384">
                  <c:v>40298.0</c:v>
                </c:pt>
                <c:pt idx="385">
                  <c:v>40301.0</c:v>
                </c:pt>
                <c:pt idx="386">
                  <c:v>40302.0</c:v>
                </c:pt>
                <c:pt idx="387">
                  <c:v>40303.0</c:v>
                </c:pt>
                <c:pt idx="388">
                  <c:v>40304.0</c:v>
                </c:pt>
                <c:pt idx="389">
                  <c:v>40305.0</c:v>
                </c:pt>
                <c:pt idx="390">
                  <c:v>40308.0</c:v>
                </c:pt>
                <c:pt idx="391">
                  <c:v>40309.0</c:v>
                </c:pt>
                <c:pt idx="392">
                  <c:v>40310.0</c:v>
                </c:pt>
                <c:pt idx="393">
                  <c:v>40311.0</c:v>
                </c:pt>
                <c:pt idx="394">
                  <c:v>40312.0</c:v>
                </c:pt>
                <c:pt idx="395">
                  <c:v>40315.0</c:v>
                </c:pt>
                <c:pt idx="396">
                  <c:v>40316.0</c:v>
                </c:pt>
                <c:pt idx="397">
                  <c:v>40317.0</c:v>
                </c:pt>
                <c:pt idx="398">
                  <c:v>40318.0</c:v>
                </c:pt>
                <c:pt idx="399">
                  <c:v>40319.0</c:v>
                </c:pt>
                <c:pt idx="400">
                  <c:v>40323.0</c:v>
                </c:pt>
                <c:pt idx="401">
                  <c:v>40324.0</c:v>
                </c:pt>
                <c:pt idx="402">
                  <c:v>40325.0</c:v>
                </c:pt>
                <c:pt idx="403">
                  <c:v>40326.0</c:v>
                </c:pt>
                <c:pt idx="404">
                  <c:v>40329.0</c:v>
                </c:pt>
                <c:pt idx="405">
                  <c:v>40330.0</c:v>
                </c:pt>
                <c:pt idx="406">
                  <c:v>40331.0</c:v>
                </c:pt>
                <c:pt idx="407">
                  <c:v>40332.0</c:v>
                </c:pt>
                <c:pt idx="408">
                  <c:v>40333.0</c:v>
                </c:pt>
                <c:pt idx="409">
                  <c:v>40336.0</c:v>
                </c:pt>
                <c:pt idx="410">
                  <c:v>40337.0</c:v>
                </c:pt>
                <c:pt idx="411">
                  <c:v>40338.0</c:v>
                </c:pt>
                <c:pt idx="412">
                  <c:v>40339.0</c:v>
                </c:pt>
                <c:pt idx="413">
                  <c:v>40340.0</c:v>
                </c:pt>
                <c:pt idx="414">
                  <c:v>40343.0</c:v>
                </c:pt>
                <c:pt idx="415">
                  <c:v>40344.0</c:v>
                </c:pt>
                <c:pt idx="416">
                  <c:v>40345.0</c:v>
                </c:pt>
                <c:pt idx="417">
                  <c:v>40346.0</c:v>
                </c:pt>
                <c:pt idx="418">
                  <c:v>40347.0</c:v>
                </c:pt>
                <c:pt idx="419">
                  <c:v>40350.0</c:v>
                </c:pt>
                <c:pt idx="420">
                  <c:v>40351.0</c:v>
                </c:pt>
                <c:pt idx="421">
                  <c:v>40352.0</c:v>
                </c:pt>
                <c:pt idx="422">
                  <c:v>40353.0</c:v>
                </c:pt>
                <c:pt idx="423">
                  <c:v>40354.0</c:v>
                </c:pt>
                <c:pt idx="424">
                  <c:v>40357.0</c:v>
                </c:pt>
                <c:pt idx="425">
                  <c:v>40358.0</c:v>
                </c:pt>
                <c:pt idx="426">
                  <c:v>40359.0</c:v>
                </c:pt>
                <c:pt idx="427">
                  <c:v>40361.0</c:v>
                </c:pt>
                <c:pt idx="428">
                  <c:v>40364.0</c:v>
                </c:pt>
                <c:pt idx="429">
                  <c:v>40365.0</c:v>
                </c:pt>
                <c:pt idx="430">
                  <c:v>40366.0</c:v>
                </c:pt>
                <c:pt idx="431">
                  <c:v>40367.0</c:v>
                </c:pt>
                <c:pt idx="432">
                  <c:v>40368.0</c:v>
                </c:pt>
                <c:pt idx="433">
                  <c:v>40371.0</c:v>
                </c:pt>
                <c:pt idx="434">
                  <c:v>40372.0</c:v>
                </c:pt>
                <c:pt idx="435">
                  <c:v>40373.0</c:v>
                </c:pt>
                <c:pt idx="436">
                  <c:v>40374.0</c:v>
                </c:pt>
                <c:pt idx="437">
                  <c:v>40375.0</c:v>
                </c:pt>
                <c:pt idx="438">
                  <c:v>40378.0</c:v>
                </c:pt>
                <c:pt idx="439">
                  <c:v>40379.0</c:v>
                </c:pt>
                <c:pt idx="440">
                  <c:v>40380.0</c:v>
                </c:pt>
                <c:pt idx="441">
                  <c:v>40381.0</c:v>
                </c:pt>
                <c:pt idx="442">
                  <c:v>40382.0</c:v>
                </c:pt>
                <c:pt idx="443">
                  <c:v>40385.0</c:v>
                </c:pt>
                <c:pt idx="444">
                  <c:v>40386.0</c:v>
                </c:pt>
                <c:pt idx="445">
                  <c:v>40387.0</c:v>
                </c:pt>
                <c:pt idx="446">
                  <c:v>40388.0</c:v>
                </c:pt>
                <c:pt idx="447">
                  <c:v>40389.0</c:v>
                </c:pt>
                <c:pt idx="448">
                  <c:v>40393.0</c:v>
                </c:pt>
                <c:pt idx="449">
                  <c:v>40394.0</c:v>
                </c:pt>
                <c:pt idx="450">
                  <c:v>40395.0</c:v>
                </c:pt>
                <c:pt idx="451">
                  <c:v>40396.0</c:v>
                </c:pt>
                <c:pt idx="452">
                  <c:v>40399.0</c:v>
                </c:pt>
                <c:pt idx="453">
                  <c:v>40400.0</c:v>
                </c:pt>
                <c:pt idx="454">
                  <c:v>40401.0</c:v>
                </c:pt>
                <c:pt idx="455">
                  <c:v>40402.0</c:v>
                </c:pt>
                <c:pt idx="456">
                  <c:v>40403.0</c:v>
                </c:pt>
                <c:pt idx="457">
                  <c:v>40406.0</c:v>
                </c:pt>
                <c:pt idx="458">
                  <c:v>40407.0</c:v>
                </c:pt>
                <c:pt idx="459">
                  <c:v>40408.0</c:v>
                </c:pt>
                <c:pt idx="460">
                  <c:v>40409.0</c:v>
                </c:pt>
                <c:pt idx="461">
                  <c:v>40410.0</c:v>
                </c:pt>
                <c:pt idx="462">
                  <c:v>40413.0</c:v>
                </c:pt>
                <c:pt idx="463">
                  <c:v>40414.0</c:v>
                </c:pt>
                <c:pt idx="464">
                  <c:v>40415.0</c:v>
                </c:pt>
                <c:pt idx="465">
                  <c:v>40416.0</c:v>
                </c:pt>
                <c:pt idx="466">
                  <c:v>40417.0</c:v>
                </c:pt>
                <c:pt idx="467">
                  <c:v>40420.0</c:v>
                </c:pt>
                <c:pt idx="468">
                  <c:v>40421.0</c:v>
                </c:pt>
                <c:pt idx="469">
                  <c:v>40422.0</c:v>
                </c:pt>
                <c:pt idx="470">
                  <c:v>40423.0</c:v>
                </c:pt>
                <c:pt idx="471">
                  <c:v>40424.0</c:v>
                </c:pt>
                <c:pt idx="472">
                  <c:v>40428.0</c:v>
                </c:pt>
                <c:pt idx="473">
                  <c:v>40429.0</c:v>
                </c:pt>
                <c:pt idx="474">
                  <c:v>40430.0</c:v>
                </c:pt>
                <c:pt idx="475">
                  <c:v>40431.0</c:v>
                </c:pt>
                <c:pt idx="476">
                  <c:v>40434.0</c:v>
                </c:pt>
                <c:pt idx="477">
                  <c:v>40435.0</c:v>
                </c:pt>
                <c:pt idx="478">
                  <c:v>40436.0</c:v>
                </c:pt>
                <c:pt idx="479">
                  <c:v>40437.0</c:v>
                </c:pt>
                <c:pt idx="480">
                  <c:v>40438.0</c:v>
                </c:pt>
                <c:pt idx="481">
                  <c:v>40441.0</c:v>
                </c:pt>
                <c:pt idx="482">
                  <c:v>40442.0</c:v>
                </c:pt>
                <c:pt idx="483">
                  <c:v>40443.0</c:v>
                </c:pt>
                <c:pt idx="484">
                  <c:v>40444.0</c:v>
                </c:pt>
                <c:pt idx="485">
                  <c:v>40445.0</c:v>
                </c:pt>
                <c:pt idx="486">
                  <c:v>40448.0</c:v>
                </c:pt>
                <c:pt idx="487">
                  <c:v>40449.0</c:v>
                </c:pt>
                <c:pt idx="488">
                  <c:v>40450.0</c:v>
                </c:pt>
                <c:pt idx="489">
                  <c:v>40451.0</c:v>
                </c:pt>
                <c:pt idx="490">
                  <c:v>40452.0</c:v>
                </c:pt>
                <c:pt idx="491">
                  <c:v>40455.0</c:v>
                </c:pt>
                <c:pt idx="492">
                  <c:v>40456.0</c:v>
                </c:pt>
                <c:pt idx="493">
                  <c:v>40457.0</c:v>
                </c:pt>
                <c:pt idx="494">
                  <c:v>40458.0</c:v>
                </c:pt>
                <c:pt idx="495">
                  <c:v>40459.0</c:v>
                </c:pt>
                <c:pt idx="496">
                  <c:v>40463.0</c:v>
                </c:pt>
                <c:pt idx="497">
                  <c:v>40464.0</c:v>
                </c:pt>
                <c:pt idx="498">
                  <c:v>40465.0</c:v>
                </c:pt>
                <c:pt idx="499">
                  <c:v>40466.0</c:v>
                </c:pt>
                <c:pt idx="500">
                  <c:v>40469.0</c:v>
                </c:pt>
                <c:pt idx="501">
                  <c:v>40470.0</c:v>
                </c:pt>
                <c:pt idx="502">
                  <c:v>40471.0</c:v>
                </c:pt>
                <c:pt idx="503">
                  <c:v>40472.0</c:v>
                </c:pt>
                <c:pt idx="504">
                  <c:v>40473.0</c:v>
                </c:pt>
                <c:pt idx="505">
                  <c:v>40476.0</c:v>
                </c:pt>
                <c:pt idx="506">
                  <c:v>40477.0</c:v>
                </c:pt>
                <c:pt idx="507">
                  <c:v>40478.0</c:v>
                </c:pt>
                <c:pt idx="508">
                  <c:v>40479.0</c:v>
                </c:pt>
                <c:pt idx="509">
                  <c:v>40480.0</c:v>
                </c:pt>
                <c:pt idx="510">
                  <c:v>40483.0</c:v>
                </c:pt>
                <c:pt idx="511">
                  <c:v>40484.0</c:v>
                </c:pt>
                <c:pt idx="512">
                  <c:v>40485.0</c:v>
                </c:pt>
                <c:pt idx="513">
                  <c:v>40486.0</c:v>
                </c:pt>
                <c:pt idx="514">
                  <c:v>40487.0</c:v>
                </c:pt>
                <c:pt idx="515">
                  <c:v>40490.0</c:v>
                </c:pt>
                <c:pt idx="516">
                  <c:v>40491.0</c:v>
                </c:pt>
                <c:pt idx="517">
                  <c:v>40492.0</c:v>
                </c:pt>
                <c:pt idx="518">
                  <c:v>40493.0</c:v>
                </c:pt>
                <c:pt idx="519">
                  <c:v>40494.0</c:v>
                </c:pt>
                <c:pt idx="520">
                  <c:v>40497.0</c:v>
                </c:pt>
                <c:pt idx="521">
                  <c:v>40498.0</c:v>
                </c:pt>
                <c:pt idx="522">
                  <c:v>40499.0</c:v>
                </c:pt>
                <c:pt idx="523">
                  <c:v>40500.0</c:v>
                </c:pt>
                <c:pt idx="524">
                  <c:v>40501.0</c:v>
                </c:pt>
                <c:pt idx="525">
                  <c:v>40504.0</c:v>
                </c:pt>
                <c:pt idx="526">
                  <c:v>40505.0</c:v>
                </c:pt>
                <c:pt idx="527">
                  <c:v>40506.0</c:v>
                </c:pt>
                <c:pt idx="528">
                  <c:v>40507.0</c:v>
                </c:pt>
                <c:pt idx="529">
                  <c:v>40508.0</c:v>
                </c:pt>
                <c:pt idx="530">
                  <c:v>40511.0</c:v>
                </c:pt>
                <c:pt idx="531">
                  <c:v>40512.0</c:v>
                </c:pt>
                <c:pt idx="532">
                  <c:v>40513.0</c:v>
                </c:pt>
                <c:pt idx="533">
                  <c:v>40514.0</c:v>
                </c:pt>
                <c:pt idx="534">
                  <c:v>40515.0</c:v>
                </c:pt>
                <c:pt idx="535">
                  <c:v>40518.0</c:v>
                </c:pt>
                <c:pt idx="536">
                  <c:v>40519.0</c:v>
                </c:pt>
                <c:pt idx="537">
                  <c:v>40520.0</c:v>
                </c:pt>
                <c:pt idx="538">
                  <c:v>40521.0</c:v>
                </c:pt>
                <c:pt idx="539">
                  <c:v>40522.0</c:v>
                </c:pt>
                <c:pt idx="540">
                  <c:v>40525.0</c:v>
                </c:pt>
                <c:pt idx="541">
                  <c:v>40526.0</c:v>
                </c:pt>
                <c:pt idx="542">
                  <c:v>40527.0</c:v>
                </c:pt>
                <c:pt idx="543">
                  <c:v>40528.0</c:v>
                </c:pt>
                <c:pt idx="544">
                  <c:v>40529.0</c:v>
                </c:pt>
                <c:pt idx="545">
                  <c:v>40532.0</c:v>
                </c:pt>
                <c:pt idx="546">
                  <c:v>40533.0</c:v>
                </c:pt>
                <c:pt idx="547">
                  <c:v>40534.0</c:v>
                </c:pt>
                <c:pt idx="548">
                  <c:v>40535.0</c:v>
                </c:pt>
                <c:pt idx="549">
                  <c:v>40536.0</c:v>
                </c:pt>
                <c:pt idx="550">
                  <c:v>40541.0</c:v>
                </c:pt>
                <c:pt idx="551">
                  <c:v>40542.0</c:v>
                </c:pt>
                <c:pt idx="552">
                  <c:v>40543.0</c:v>
                </c:pt>
                <c:pt idx="553">
                  <c:v>40547.0</c:v>
                </c:pt>
                <c:pt idx="554">
                  <c:v>40548.0</c:v>
                </c:pt>
                <c:pt idx="555">
                  <c:v>40549.0</c:v>
                </c:pt>
                <c:pt idx="556">
                  <c:v>40550.0</c:v>
                </c:pt>
                <c:pt idx="557">
                  <c:v>40553.0</c:v>
                </c:pt>
                <c:pt idx="558">
                  <c:v>40554.0</c:v>
                </c:pt>
                <c:pt idx="559">
                  <c:v>40555.0</c:v>
                </c:pt>
                <c:pt idx="560">
                  <c:v>40556.0</c:v>
                </c:pt>
                <c:pt idx="561">
                  <c:v>40557.0</c:v>
                </c:pt>
                <c:pt idx="562">
                  <c:v>40560.0</c:v>
                </c:pt>
                <c:pt idx="563">
                  <c:v>40561.0</c:v>
                </c:pt>
                <c:pt idx="564">
                  <c:v>40562.0</c:v>
                </c:pt>
                <c:pt idx="565">
                  <c:v>40563.0</c:v>
                </c:pt>
                <c:pt idx="566">
                  <c:v>40564.0</c:v>
                </c:pt>
                <c:pt idx="567">
                  <c:v>40567.0</c:v>
                </c:pt>
                <c:pt idx="568">
                  <c:v>40568.0</c:v>
                </c:pt>
                <c:pt idx="569">
                  <c:v>40569.0</c:v>
                </c:pt>
                <c:pt idx="570">
                  <c:v>40570.0</c:v>
                </c:pt>
                <c:pt idx="571">
                  <c:v>40571.0</c:v>
                </c:pt>
                <c:pt idx="572">
                  <c:v>40574.0</c:v>
                </c:pt>
                <c:pt idx="573">
                  <c:v>40575.0</c:v>
                </c:pt>
                <c:pt idx="574">
                  <c:v>40576.0</c:v>
                </c:pt>
                <c:pt idx="575">
                  <c:v>40577.0</c:v>
                </c:pt>
                <c:pt idx="576">
                  <c:v>40578.0</c:v>
                </c:pt>
                <c:pt idx="577">
                  <c:v>40581.0</c:v>
                </c:pt>
                <c:pt idx="578">
                  <c:v>40582.0</c:v>
                </c:pt>
                <c:pt idx="579">
                  <c:v>40583.0</c:v>
                </c:pt>
                <c:pt idx="580">
                  <c:v>40584.0</c:v>
                </c:pt>
                <c:pt idx="581">
                  <c:v>40585.0</c:v>
                </c:pt>
                <c:pt idx="582">
                  <c:v>40588.0</c:v>
                </c:pt>
                <c:pt idx="583">
                  <c:v>40589.0</c:v>
                </c:pt>
                <c:pt idx="584">
                  <c:v>40590.0</c:v>
                </c:pt>
                <c:pt idx="585">
                  <c:v>40591.0</c:v>
                </c:pt>
                <c:pt idx="586">
                  <c:v>40592.0</c:v>
                </c:pt>
                <c:pt idx="587">
                  <c:v>40596.0</c:v>
                </c:pt>
                <c:pt idx="588">
                  <c:v>40597.0</c:v>
                </c:pt>
                <c:pt idx="589">
                  <c:v>40598.0</c:v>
                </c:pt>
                <c:pt idx="590">
                  <c:v>40599.0</c:v>
                </c:pt>
                <c:pt idx="591">
                  <c:v>40602.0</c:v>
                </c:pt>
                <c:pt idx="592">
                  <c:v>40603.0</c:v>
                </c:pt>
                <c:pt idx="593">
                  <c:v>40604.0</c:v>
                </c:pt>
                <c:pt idx="594">
                  <c:v>40605.0</c:v>
                </c:pt>
                <c:pt idx="595">
                  <c:v>40606.0</c:v>
                </c:pt>
                <c:pt idx="596">
                  <c:v>40609.0</c:v>
                </c:pt>
                <c:pt idx="597">
                  <c:v>40610.0</c:v>
                </c:pt>
                <c:pt idx="598">
                  <c:v>40611.0</c:v>
                </c:pt>
                <c:pt idx="599">
                  <c:v>40612.0</c:v>
                </c:pt>
                <c:pt idx="600">
                  <c:v>40613.0</c:v>
                </c:pt>
                <c:pt idx="601">
                  <c:v>40616.0</c:v>
                </c:pt>
                <c:pt idx="602">
                  <c:v>40617.0</c:v>
                </c:pt>
                <c:pt idx="603">
                  <c:v>40618.0</c:v>
                </c:pt>
                <c:pt idx="604">
                  <c:v>40619.0</c:v>
                </c:pt>
                <c:pt idx="605">
                  <c:v>40620.0</c:v>
                </c:pt>
                <c:pt idx="606">
                  <c:v>40623.0</c:v>
                </c:pt>
                <c:pt idx="607">
                  <c:v>40624.0</c:v>
                </c:pt>
                <c:pt idx="608">
                  <c:v>40625.0</c:v>
                </c:pt>
                <c:pt idx="609">
                  <c:v>40626.0</c:v>
                </c:pt>
                <c:pt idx="610">
                  <c:v>40627.0</c:v>
                </c:pt>
                <c:pt idx="611">
                  <c:v>40630.0</c:v>
                </c:pt>
                <c:pt idx="612">
                  <c:v>40631.0</c:v>
                </c:pt>
                <c:pt idx="613">
                  <c:v>40632.0</c:v>
                </c:pt>
                <c:pt idx="614">
                  <c:v>40633.0</c:v>
                </c:pt>
                <c:pt idx="615">
                  <c:v>40634.0</c:v>
                </c:pt>
                <c:pt idx="616">
                  <c:v>40637.0</c:v>
                </c:pt>
                <c:pt idx="617">
                  <c:v>40638.0</c:v>
                </c:pt>
                <c:pt idx="618">
                  <c:v>40639.0</c:v>
                </c:pt>
                <c:pt idx="619">
                  <c:v>40640.0</c:v>
                </c:pt>
                <c:pt idx="620">
                  <c:v>40641.0</c:v>
                </c:pt>
                <c:pt idx="621">
                  <c:v>40644.0</c:v>
                </c:pt>
                <c:pt idx="622">
                  <c:v>40645.0</c:v>
                </c:pt>
                <c:pt idx="623">
                  <c:v>40646.0</c:v>
                </c:pt>
                <c:pt idx="624">
                  <c:v>40647.0</c:v>
                </c:pt>
                <c:pt idx="625">
                  <c:v>40648.0</c:v>
                </c:pt>
                <c:pt idx="626">
                  <c:v>40651.0</c:v>
                </c:pt>
                <c:pt idx="627">
                  <c:v>40652.0</c:v>
                </c:pt>
                <c:pt idx="628">
                  <c:v>40653.0</c:v>
                </c:pt>
                <c:pt idx="629">
                  <c:v>40654.0</c:v>
                </c:pt>
                <c:pt idx="630">
                  <c:v>40658.0</c:v>
                </c:pt>
                <c:pt idx="631">
                  <c:v>40659.0</c:v>
                </c:pt>
                <c:pt idx="632">
                  <c:v>40660.0</c:v>
                </c:pt>
                <c:pt idx="633">
                  <c:v>40661.0</c:v>
                </c:pt>
                <c:pt idx="634">
                  <c:v>40662.0</c:v>
                </c:pt>
                <c:pt idx="635">
                  <c:v>40665.0</c:v>
                </c:pt>
                <c:pt idx="636">
                  <c:v>40666.0</c:v>
                </c:pt>
                <c:pt idx="637">
                  <c:v>40667.0</c:v>
                </c:pt>
                <c:pt idx="638">
                  <c:v>40668.0</c:v>
                </c:pt>
                <c:pt idx="639">
                  <c:v>40669.0</c:v>
                </c:pt>
                <c:pt idx="640">
                  <c:v>40672.0</c:v>
                </c:pt>
                <c:pt idx="641">
                  <c:v>40673.0</c:v>
                </c:pt>
                <c:pt idx="642">
                  <c:v>40674.0</c:v>
                </c:pt>
                <c:pt idx="643">
                  <c:v>40675.0</c:v>
                </c:pt>
                <c:pt idx="644">
                  <c:v>40676.0</c:v>
                </c:pt>
                <c:pt idx="645">
                  <c:v>40679.0</c:v>
                </c:pt>
                <c:pt idx="646">
                  <c:v>40680.0</c:v>
                </c:pt>
                <c:pt idx="647">
                  <c:v>40681.0</c:v>
                </c:pt>
                <c:pt idx="648">
                  <c:v>40682.0</c:v>
                </c:pt>
                <c:pt idx="649">
                  <c:v>40683.0</c:v>
                </c:pt>
                <c:pt idx="650">
                  <c:v>40687.0</c:v>
                </c:pt>
                <c:pt idx="651">
                  <c:v>40688.0</c:v>
                </c:pt>
                <c:pt idx="652">
                  <c:v>40689.0</c:v>
                </c:pt>
                <c:pt idx="653">
                  <c:v>40690.0</c:v>
                </c:pt>
                <c:pt idx="654">
                  <c:v>40693.0</c:v>
                </c:pt>
                <c:pt idx="655">
                  <c:v>40694.0</c:v>
                </c:pt>
                <c:pt idx="656">
                  <c:v>40695.0</c:v>
                </c:pt>
                <c:pt idx="657">
                  <c:v>40696.0</c:v>
                </c:pt>
                <c:pt idx="658">
                  <c:v>40697.0</c:v>
                </c:pt>
                <c:pt idx="659">
                  <c:v>40700.0</c:v>
                </c:pt>
                <c:pt idx="660">
                  <c:v>40701.0</c:v>
                </c:pt>
                <c:pt idx="661">
                  <c:v>40702.0</c:v>
                </c:pt>
                <c:pt idx="662">
                  <c:v>40703.0</c:v>
                </c:pt>
                <c:pt idx="663">
                  <c:v>40704.0</c:v>
                </c:pt>
                <c:pt idx="664">
                  <c:v>40707.0</c:v>
                </c:pt>
                <c:pt idx="665">
                  <c:v>40708.0</c:v>
                </c:pt>
                <c:pt idx="666">
                  <c:v>40709.0</c:v>
                </c:pt>
                <c:pt idx="667">
                  <c:v>40710.0</c:v>
                </c:pt>
                <c:pt idx="668">
                  <c:v>40711.0</c:v>
                </c:pt>
                <c:pt idx="669">
                  <c:v>40714.0</c:v>
                </c:pt>
                <c:pt idx="670">
                  <c:v>40715.0</c:v>
                </c:pt>
                <c:pt idx="671">
                  <c:v>40716.0</c:v>
                </c:pt>
                <c:pt idx="672">
                  <c:v>40717.0</c:v>
                </c:pt>
                <c:pt idx="673">
                  <c:v>40718.0</c:v>
                </c:pt>
                <c:pt idx="674">
                  <c:v>40721.0</c:v>
                </c:pt>
                <c:pt idx="675">
                  <c:v>40722.0</c:v>
                </c:pt>
                <c:pt idx="676">
                  <c:v>40723.0</c:v>
                </c:pt>
                <c:pt idx="677">
                  <c:v>40724.0</c:v>
                </c:pt>
                <c:pt idx="678">
                  <c:v>40728.0</c:v>
                </c:pt>
                <c:pt idx="679">
                  <c:v>40729.0</c:v>
                </c:pt>
                <c:pt idx="680">
                  <c:v>40730.0</c:v>
                </c:pt>
                <c:pt idx="681">
                  <c:v>40731.0</c:v>
                </c:pt>
                <c:pt idx="682">
                  <c:v>40732.0</c:v>
                </c:pt>
                <c:pt idx="683">
                  <c:v>40735.0</c:v>
                </c:pt>
                <c:pt idx="684">
                  <c:v>40736.0</c:v>
                </c:pt>
                <c:pt idx="685">
                  <c:v>40737.0</c:v>
                </c:pt>
                <c:pt idx="686">
                  <c:v>40738.0</c:v>
                </c:pt>
                <c:pt idx="687">
                  <c:v>40739.0</c:v>
                </c:pt>
                <c:pt idx="688">
                  <c:v>40742.0</c:v>
                </c:pt>
                <c:pt idx="689">
                  <c:v>40743.0</c:v>
                </c:pt>
                <c:pt idx="690">
                  <c:v>40744.0</c:v>
                </c:pt>
                <c:pt idx="691">
                  <c:v>40745.0</c:v>
                </c:pt>
                <c:pt idx="692">
                  <c:v>40746.0</c:v>
                </c:pt>
                <c:pt idx="693">
                  <c:v>40749.0</c:v>
                </c:pt>
                <c:pt idx="694">
                  <c:v>40750.0</c:v>
                </c:pt>
                <c:pt idx="695">
                  <c:v>40751.0</c:v>
                </c:pt>
                <c:pt idx="696">
                  <c:v>40752.0</c:v>
                </c:pt>
                <c:pt idx="697">
                  <c:v>40753.0</c:v>
                </c:pt>
                <c:pt idx="698">
                  <c:v>40757.0</c:v>
                </c:pt>
                <c:pt idx="699">
                  <c:v>40758.0</c:v>
                </c:pt>
                <c:pt idx="700">
                  <c:v>40759.0</c:v>
                </c:pt>
                <c:pt idx="701">
                  <c:v>40760.0</c:v>
                </c:pt>
                <c:pt idx="702">
                  <c:v>40763.0</c:v>
                </c:pt>
                <c:pt idx="703">
                  <c:v>40764.0</c:v>
                </c:pt>
                <c:pt idx="704">
                  <c:v>40765.0</c:v>
                </c:pt>
                <c:pt idx="705">
                  <c:v>40766.0</c:v>
                </c:pt>
                <c:pt idx="706">
                  <c:v>40767.0</c:v>
                </c:pt>
                <c:pt idx="707">
                  <c:v>40770.0</c:v>
                </c:pt>
                <c:pt idx="708">
                  <c:v>40771.0</c:v>
                </c:pt>
                <c:pt idx="709">
                  <c:v>40772.0</c:v>
                </c:pt>
                <c:pt idx="710">
                  <c:v>40773.0</c:v>
                </c:pt>
                <c:pt idx="711">
                  <c:v>40774.0</c:v>
                </c:pt>
                <c:pt idx="712">
                  <c:v>40777.0</c:v>
                </c:pt>
                <c:pt idx="713">
                  <c:v>40778.0</c:v>
                </c:pt>
                <c:pt idx="714">
                  <c:v>40779.0</c:v>
                </c:pt>
                <c:pt idx="715">
                  <c:v>40780.0</c:v>
                </c:pt>
                <c:pt idx="716">
                  <c:v>40781.0</c:v>
                </c:pt>
                <c:pt idx="717">
                  <c:v>40784.0</c:v>
                </c:pt>
                <c:pt idx="718">
                  <c:v>40785.0</c:v>
                </c:pt>
                <c:pt idx="719">
                  <c:v>40786.0</c:v>
                </c:pt>
                <c:pt idx="720">
                  <c:v>40787.0</c:v>
                </c:pt>
                <c:pt idx="721">
                  <c:v>40788.0</c:v>
                </c:pt>
                <c:pt idx="722">
                  <c:v>40792.0</c:v>
                </c:pt>
                <c:pt idx="723">
                  <c:v>40793.0</c:v>
                </c:pt>
                <c:pt idx="724">
                  <c:v>40794.0</c:v>
                </c:pt>
                <c:pt idx="725">
                  <c:v>40795.0</c:v>
                </c:pt>
                <c:pt idx="726">
                  <c:v>40798.0</c:v>
                </c:pt>
                <c:pt idx="727">
                  <c:v>40799.0</c:v>
                </c:pt>
                <c:pt idx="728">
                  <c:v>40800.0</c:v>
                </c:pt>
                <c:pt idx="729">
                  <c:v>40801.0</c:v>
                </c:pt>
                <c:pt idx="730">
                  <c:v>40802.0</c:v>
                </c:pt>
                <c:pt idx="731">
                  <c:v>40805.0</c:v>
                </c:pt>
                <c:pt idx="732">
                  <c:v>40806.0</c:v>
                </c:pt>
                <c:pt idx="733">
                  <c:v>40807.0</c:v>
                </c:pt>
                <c:pt idx="734">
                  <c:v>40808.0</c:v>
                </c:pt>
                <c:pt idx="735">
                  <c:v>40809.0</c:v>
                </c:pt>
                <c:pt idx="736">
                  <c:v>40812.0</c:v>
                </c:pt>
                <c:pt idx="737">
                  <c:v>40813.0</c:v>
                </c:pt>
                <c:pt idx="738">
                  <c:v>40814.0</c:v>
                </c:pt>
                <c:pt idx="739">
                  <c:v>40815.0</c:v>
                </c:pt>
                <c:pt idx="740">
                  <c:v>40816.0</c:v>
                </c:pt>
                <c:pt idx="741">
                  <c:v>40819.0</c:v>
                </c:pt>
                <c:pt idx="742">
                  <c:v>40820.0</c:v>
                </c:pt>
                <c:pt idx="743">
                  <c:v>40821.0</c:v>
                </c:pt>
                <c:pt idx="744">
                  <c:v>40822.0</c:v>
                </c:pt>
                <c:pt idx="745">
                  <c:v>40823.0</c:v>
                </c:pt>
                <c:pt idx="746">
                  <c:v>40827.0</c:v>
                </c:pt>
                <c:pt idx="747">
                  <c:v>40828.0</c:v>
                </c:pt>
                <c:pt idx="748">
                  <c:v>40829.0</c:v>
                </c:pt>
                <c:pt idx="749">
                  <c:v>40830.0</c:v>
                </c:pt>
                <c:pt idx="750">
                  <c:v>40833.0</c:v>
                </c:pt>
                <c:pt idx="751">
                  <c:v>40834.0</c:v>
                </c:pt>
                <c:pt idx="752">
                  <c:v>40835.0</c:v>
                </c:pt>
                <c:pt idx="753">
                  <c:v>40836.0</c:v>
                </c:pt>
                <c:pt idx="754">
                  <c:v>40837.0</c:v>
                </c:pt>
                <c:pt idx="755">
                  <c:v>40840.0</c:v>
                </c:pt>
                <c:pt idx="756">
                  <c:v>40841.0</c:v>
                </c:pt>
                <c:pt idx="757">
                  <c:v>40842.0</c:v>
                </c:pt>
                <c:pt idx="758">
                  <c:v>40843.0</c:v>
                </c:pt>
                <c:pt idx="759">
                  <c:v>40844.0</c:v>
                </c:pt>
                <c:pt idx="760">
                  <c:v>40847.0</c:v>
                </c:pt>
                <c:pt idx="761">
                  <c:v>40848.0</c:v>
                </c:pt>
                <c:pt idx="762">
                  <c:v>40849.0</c:v>
                </c:pt>
                <c:pt idx="763">
                  <c:v>40850.0</c:v>
                </c:pt>
                <c:pt idx="764">
                  <c:v>40851.0</c:v>
                </c:pt>
                <c:pt idx="765">
                  <c:v>40854.0</c:v>
                </c:pt>
                <c:pt idx="766">
                  <c:v>40855.0</c:v>
                </c:pt>
                <c:pt idx="767">
                  <c:v>40856.0</c:v>
                </c:pt>
                <c:pt idx="768">
                  <c:v>40857.0</c:v>
                </c:pt>
                <c:pt idx="769">
                  <c:v>40858.0</c:v>
                </c:pt>
                <c:pt idx="770">
                  <c:v>40861.0</c:v>
                </c:pt>
                <c:pt idx="771">
                  <c:v>40862.0</c:v>
                </c:pt>
                <c:pt idx="772">
                  <c:v>40863.0</c:v>
                </c:pt>
                <c:pt idx="773">
                  <c:v>40864.0</c:v>
                </c:pt>
                <c:pt idx="774">
                  <c:v>40865.0</c:v>
                </c:pt>
                <c:pt idx="775">
                  <c:v>40868.0</c:v>
                </c:pt>
                <c:pt idx="776">
                  <c:v>40869.0</c:v>
                </c:pt>
                <c:pt idx="777">
                  <c:v>40870.0</c:v>
                </c:pt>
                <c:pt idx="778">
                  <c:v>40871.0</c:v>
                </c:pt>
                <c:pt idx="779">
                  <c:v>40872.0</c:v>
                </c:pt>
                <c:pt idx="780">
                  <c:v>40875.0</c:v>
                </c:pt>
                <c:pt idx="781">
                  <c:v>40876.0</c:v>
                </c:pt>
                <c:pt idx="782">
                  <c:v>40877.0</c:v>
                </c:pt>
                <c:pt idx="783">
                  <c:v>40878.0</c:v>
                </c:pt>
                <c:pt idx="784">
                  <c:v>40879.0</c:v>
                </c:pt>
                <c:pt idx="785">
                  <c:v>40882.0</c:v>
                </c:pt>
                <c:pt idx="786">
                  <c:v>40883.0</c:v>
                </c:pt>
                <c:pt idx="787">
                  <c:v>40884.0</c:v>
                </c:pt>
                <c:pt idx="788">
                  <c:v>40885.0</c:v>
                </c:pt>
                <c:pt idx="789">
                  <c:v>40886.0</c:v>
                </c:pt>
                <c:pt idx="790">
                  <c:v>40889.0</c:v>
                </c:pt>
                <c:pt idx="791">
                  <c:v>40890.0</c:v>
                </c:pt>
                <c:pt idx="792">
                  <c:v>40891.0</c:v>
                </c:pt>
                <c:pt idx="793">
                  <c:v>40892.0</c:v>
                </c:pt>
                <c:pt idx="794">
                  <c:v>40893.0</c:v>
                </c:pt>
                <c:pt idx="795">
                  <c:v>40896.0</c:v>
                </c:pt>
                <c:pt idx="796">
                  <c:v>40897.0</c:v>
                </c:pt>
                <c:pt idx="797">
                  <c:v>40898.0</c:v>
                </c:pt>
                <c:pt idx="798">
                  <c:v>40899.0</c:v>
                </c:pt>
                <c:pt idx="799">
                  <c:v>40900.0</c:v>
                </c:pt>
                <c:pt idx="800">
                  <c:v>40905.0</c:v>
                </c:pt>
                <c:pt idx="801">
                  <c:v>40906.0</c:v>
                </c:pt>
                <c:pt idx="802">
                  <c:v>40907.0</c:v>
                </c:pt>
                <c:pt idx="803">
                  <c:v>40911.0</c:v>
                </c:pt>
                <c:pt idx="804">
                  <c:v>40912.0</c:v>
                </c:pt>
                <c:pt idx="805">
                  <c:v>40913.0</c:v>
                </c:pt>
                <c:pt idx="806">
                  <c:v>40914.0</c:v>
                </c:pt>
                <c:pt idx="807">
                  <c:v>40917.0</c:v>
                </c:pt>
                <c:pt idx="808">
                  <c:v>40918.0</c:v>
                </c:pt>
                <c:pt idx="809">
                  <c:v>40919.0</c:v>
                </c:pt>
                <c:pt idx="810">
                  <c:v>40920.0</c:v>
                </c:pt>
                <c:pt idx="811">
                  <c:v>40921.0</c:v>
                </c:pt>
                <c:pt idx="812">
                  <c:v>40924.0</c:v>
                </c:pt>
                <c:pt idx="813">
                  <c:v>40925.0</c:v>
                </c:pt>
                <c:pt idx="814">
                  <c:v>40926.0</c:v>
                </c:pt>
                <c:pt idx="815">
                  <c:v>40927.0</c:v>
                </c:pt>
                <c:pt idx="816">
                  <c:v>40928.0</c:v>
                </c:pt>
                <c:pt idx="817">
                  <c:v>40931.0</c:v>
                </c:pt>
                <c:pt idx="818">
                  <c:v>40932.0</c:v>
                </c:pt>
                <c:pt idx="819">
                  <c:v>40933.0</c:v>
                </c:pt>
                <c:pt idx="820">
                  <c:v>40934.0</c:v>
                </c:pt>
                <c:pt idx="821">
                  <c:v>40935.0</c:v>
                </c:pt>
                <c:pt idx="822">
                  <c:v>40938.0</c:v>
                </c:pt>
                <c:pt idx="823">
                  <c:v>40939.0</c:v>
                </c:pt>
                <c:pt idx="824">
                  <c:v>40940.0</c:v>
                </c:pt>
                <c:pt idx="825">
                  <c:v>40941.0</c:v>
                </c:pt>
                <c:pt idx="826">
                  <c:v>40942.0</c:v>
                </c:pt>
                <c:pt idx="827">
                  <c:v>40945.0</c:v>
                </c:pt>
                <c:pt idx="828">
                  <c:v>40946.0</c:v>
                </c:pt>
                <c:pt idx="829">
                  <c:v>40947.0</c:v>
                </c:pt>
                <c:pt idx="830">
                  <c:v>40948.0</c:v>
                </c:pt>
                <c:pt idx="831">
                  <c:v>40949.0</c:v>
                </c:pt>
                <c:pt idx="832">
                  <c:v>40952.0</c:v>
                </c:pt>
                <c:pt idx="833">
                  <c:v>40953.0</c:v>
                </c:pt>
                <c:pt idx="834">
                  <c:v>40954.0</c:v>
                </c:pt>
                <c:pt idx="835">
                  <c:v>40955.0</c:v>
                </c:pt>
                <c:pt idx="836">
                  <c:v>40956.0</c:v>
                </c:pt>
                <c:pt idx="837">
                  <c:v>40960.0</c:v>
                </c:pt>
                <c:pt idx="838">
                  <c:v>40961.0</c:v>
                </c:pt>
                <c:pt idx="839">
                  <c:v>40962.0</c:v>
                </c:pt>
                <c:pt idx="840">
                  <c:v>40963.0</c:v>
                </c:pt>
                <c:pt idx="841">
                  <c:v>40966.0</c:v>
                </c:pt>
                <c:pt idx="842">
                  <c:v>40967.0</c:v>
                </c:pt>
                <c:pt idx="843">
                  <c:v>40968.0</c:v>
                </c:pt>
                <c:pt idx="844">
                  <c:v>40969.0</c:v>
                </c:pt>
                <c:pt idx="845">
                  <c:v>40970.0</c:v>
                </c:pt>
                <c:pt idx="846">
                  <c:v>40973.0</c:v>
                </c:pt>
                <c:pt idx="847">
                  <c:v>40974.0</c:v>
                </c:pt>
                <c:pt idx="848">
                  <c:v>40975.0</c:v>
                </c:pt>
                <c:pt idx="849">
                  <c:v>40976.0</c:v>
                </c:pt>
                <c:pt idx="850">
                  <c:v>40977.0</c:v>
                </c:pt>
                <c:pt idx="851">
                  <c:v>40980.0</c:v>
                </c:pt>
                <c:pt idx="852">
                  <c:v>40981.0</c:v>
                </c:pt>
                <c:pt idx="853">
                  <c:v>40982.0</c:v>
                </c:pt>
                <c:pt idx="854">
                  <c:v>40983.0</c:v>
                </c:pt>
                <c:pt idx="855">
                  <c:v>40984.0</c:v>
                </c:pt>
                <c:pt idx="856">
                  <c:v>40987.0</c:v>
                </c:pt>
                <c:pt idx="857">
                  <c:v>40988.0</c:v>
                </c:pt>
                <c:pt idx="858">
                  <c:v>40989.0</c:v>
                </c:pt>
                <c:pt idx="859">
                  <c:v>40990.0</c:v>
                </c:pt>
                <c:pt idx="860">
                  <c:v>40991.0</c:v>
                </c:pt>
                <c:pt idx="861">
                  <c:v>40994.0</c:v>
                </c:pt>
                <c:pt idx="862">
                  <c:v>40995.0</c:v>
                </c:pt>
                <c:pt idx="863">
                  <c:v>40996.0</c:v>
                </c:pt>
                <c:pt idx="864">
                  <c:v>40997.0</c:v>
                </c:pt>
                <c:pt idx="865">
                  <c:v>40998.0</c:v>
                </c:pt>
                <c:pt idx="866">
                  <c:v>41001.0</c:v>
                </c:pt>
                <c:pt idx="867">
                  <c:v>41002.0</c:v>
                </c:pt>
                <c:pt idx="868">
                  <c:v>41003.0</c:v>
                </c:pt>
                <c:pt idx="869">
                  <c:v>41004.0</c:v>
                </c:pt>
                <c:pt idx="870">
                  <c:v>41008.0</c:v>
                </c:pt>
                <c:pt idx="871">
                  <c:v>41009.0</c:v>
                </c:pt>
                <c:pt idx="872">
                  <c:v>41010.0</c:v>
                </c:pt>
                <c:pt idx="873">
                  <c:v>41011.0</c:v>
                </c:pt>
                <c:pt idx="874">
                  <c:v>41012.0</c:v>
                </c:pt>
                <c:pt idx="875">
                  <c:v>41015.0</c:v>
                </c:pt>
                <c:pt idx="876">
                  <c:v>41016.0</c:v>
                </c:pt>
                <c:pt idx="877">
                  <c:v>41017.0</c:v>
                </c:pt>
                <c:pt idx="878">
                  <c:v>41018.0</c:v>
                </c:pt>
                <c:pt idx="879">
                  <c:v>41019.0</c:v>
                </c:pt>
                <c:pt idx="880">
                  <c:v>41022.0</c:v>
                </c:pt>
                <c:pt idx="881">
                  <c:v>41023.0</c:v>
                </c:pt>
                <c:pt idx="882">
                  <c:v>41024.0</c:v>
                </c:pt>
                <c:pt idx="883">
                  <c:v>41025.0</c:v>
                </c:pt>
                <c:pt idx="884">
                  <c:v>41026.0</c:v>
                </c:pt>
                <c:pt idx="885">
                  <c:v>41029.0</c:v>
                </c:pt>
                <c:pt idx="886">
                  <c:v>41030.0</c:v>
                </c:pt>
                <c:pt idx="887">
                  <c:v>41031.0</c:v>
                </c:pt>
                <c:pt idx="888">
                  <c:v>41032.0</c:v>
                </c:pt>
                <c:pt idx="889">
                  <c:v>41033.0</c:v>
                </c:pt>
                <c:pt idx="890">
                  <c:v>41036.0</c:v>
                </c:pt>
                <c:pt idx="891">
                  <c:v>41037.0</c:v>
                </c:pt>
                <c:pt idx="892">
                  <c:v>41038.0</c:v>
                </c:pt>
                <c:pt idx="893">
                  <c:v>41039.0</c:v>
                </c:pt>
                <c:pt idx="894">
                  <c:v>41040.0</c:v>
                </c:pt>
                <c:pt idx="895">
                  <c:v>41043.0</c:v>
                </c:pt>
                <c:pt idx="896">
                  <c:v>41044.0</c:v>
                </c:pt>
                <c:pt idx="897">
                  <c:v>41045.0</c:v>
                </c:pt>
                <c:pt idx="898">
                  <c:v>41046.0</c:v>
                </c:pt>
                <c:pt idx="899">
                  <c:v>41047.0</c:v>
                </c:pt>
                <c:pt idx="900">
                  <c:v>41051.0</c:v>
                </c:pt>
                <c:pt idx="901">
                  <c:v>41052.0</c:v>
                </c:pt>
                <c:pt idx="902">
                  <c:v>41053.0</c:v>
                </c:pt>
                <c:pt idx="903">
                  <c:v>41054.0</c:v>
                </c:pt>
                <c:pt idx="904">
                  <c:v>41057.0</c:v>
                </c:pt>
                <c:pt idx="905">
                  <c:v>41058.0</c:v>
                </c:pt>
                <c:pt idx="906">
                  <c:v>41059.0</c:v>
                </c:pt>
                <c:pt idx="907">
                  <c:v>41060.0</c:v>
                </c:pt>
                <c:pt idx="908">
                  <c:v>41061.0</c:v>
                </c:pt>
                <c:pt idx="909">
                  <c:v>41064.0</c:v>
                </c:pt>
                <c:pt idx="910">
                  <c:v>41065.0</c:v>
                </c:pt>
                <c:pt idx="911">
                  <c:v>41066.0</c:v>
                </c:pt>
                <c:pt idx="912">
                  <c:v>41067.0</c:v>
                </c:pt>
                <c:pt idx="913">
                  <c:v>41068.0</c:v>
                </c:pt>
                <c:pt idx="914">
                  <c:v>41071.0</c:v>
                </c:pt>
                <c:pt idx="915">
                  <c:v>41072.0</c:v>
                </c:pt>
                <c:pt idx="916">
                  <c:v>41073.0</c:v>
                </c:pt>
                <c:pt idx="917">
                  <c:v>41074.0</c:v>
                </c:pt>
                <c:pt idx="918">
                  <c:v>41075.0</c:v>
                </c:pt>
                <c:pt idx="919">
                  <c:v>41078.0</c:v>
                </c:pt>
                <c:pt idx="920">
                  <c:v>41079.0</c:v>
                </c:pt>
                <c:pt idx="921">
                  <c:v>41080.0</c:v>
                </c:pt>
                <c:pt idx="922">
                  <c:v>41081.0</c:v>
                </c:pt>
                <c:pt idx="923">
                  <c:v>41082.0</c:v>
                </c:pt>
                <c:pt idx="924">
                  <c:v>41085.0</c:v>
                </c:pt>
                <c:pt idx="925">
                  <c:v>41086.0</c:v>
                </c:pt>
                <c:pt idx="926">
                  <c:v>41087.0</c:v>
                </c:pt>
                <c:pt idx="927">
                  <c:v>41088.0</c:v>
                </c:pt>
                <c:pt idx="928">
                  <c:v>41089.0</c:v>
                </c:pt>
                <c:pt idx="929">
                  <c:v>41093.0</c:v>
                </c:pt>
                <c:pt idx="930">
                  <c:v>41094.0</c:v>
                </c:pt>
                <c:pt idx="931">
                  <c:v>41095.0</c:v>
                </c:pt>
                <c:pt idx="932">
                  <c:v>41096.0</c:v>
                </c:pt>
                <c:pt idx="933">
                  <c:v>41099.0</c:v>
                </c:pt>
                <c:pt idx="934">
                  <c:v>41100.0</c:v>
                </c:pt>
                <c:pt idx="935">
                  <c:v>41101.0</c:v>
                </c:pt>
                <c:pt idx="936">
                  <c:v>41102.0</c:v>
                </c:pt>
                <c:pt idx="937">
                  <c:v>41103.0</c:v>
                </c:pt>
                <c:pt idx="938">
                  <c:v>41106.0</c:v>
                </c:pt>
                <c:pt idx="939">
                  <c:v>41107.0</c:v>
                </c:pt>
                <c:pt idx="940">
                  <c:v>41108.0</c:v>
                </c:pt>
                <c:pt idx="941">
                  <c:v>41109.0</c:v>
                </c:pt>
                <c:pt idx="942">
                  <c:v>41110.0</c:v>
                </c:pt>
                <c:pt idx="943">
                  <c:v>41113.0</c:v>
                </c:pt>
                <c:pt idx="944">
                  <c:v>41114.0</c:v>
                </c:pt>
                <c:pt idx="945">
                  <c:v>41115.0</c:v>
                </c:pt>
                <c:pt idx="946">
                  <c:v>41116.0</c:v>
                </c:pt>
                <c:pt idx="947">
                  <c:v>41117.0</c:v>
                </c:pt>
                <c:pt idx="948">
                  <c:v>41120.0</c:v>
                </c:pt>
                <c:pt idx="949">
                  <c:v>41121.0</c:v>
                </c:pt>
                <c:pt idx="950">
                  <c:v>41122.0</c:v>
                </c:pt>
                <c:pt idx="951">
                  <c:v>41123.0</c:v>
                </c:pt>
                <c:pt idx="952">
                  <c:v>41124.0</c:v>
                </c:pt>
                <c:pt idx="953">
                  <c:v>41128.0</c:v>
                </c:pt>
                <c:pt idx="954">
                  <c:v>41129.0</c:v>
                </c:pt>
                <c:pt idx="955">
                  <c:v>41130.0</c:v>
                </c:pt>
                <c:pt idx="956">
                  <c:v>41131.0</c:v>
                </c:pt>
                <c:pt idx="957">
                  <c:v>41134.0</c:v>
                </c:pt>
                <c:pt idx="958">
                  <c:v>41135.0</c:v>
                </c:pt>
                <c:pt idx="959">
                  <c:v>41136.0</c:v>
                </c:pt>
                <c:pt idx="960">
                  <c:v>41137.0</c:v>
                </c:pt>
                <c:pt idx="961">
                  <c:v>41138.0</c:v>
                </c:pt>
                <c:pt idx="962">
                  <c:v>41141.0</c:v>
                </c:pt>
                <c:pt idx="963">
                  <c:v>41142.0</c:v>
                </c:pt>
                <c:pt idx="964">
                  <c:v>41143.0</c:v>
                </c:pt>
                <c:pt idx="965">
                  <c:v>41144.0</c:v>
                </c:pt>
                <c:pt idx="966">
                  <c:v>41145.0</c:v>
                </c:pt>
                <c:pt idx="967">
                  <c:v>41148.0</c:v>
                </c:pt>
                <c:pt idx="968">
                  <c:v>41149.0</c:v>
                </c:pt>
                <c:pt idx="969">
                  <c:v>41150.0</c:v>
                </c:pt>
                <c:pt idx="970">
                  <c:v>41151.0</c:v>
                </c:pt>
                <c:pt idx="971">
                  <c:v>41152.0</c:v>
                </c:pt>
                <c:pt idx="972">
                  <c:v>41156.0</c:v>
                </c:pt>
                <c:pt idx="973">
                  <c:v>41157.0</c:v>
                </c:pt>
                <c:pt idx="974">
                  <c:v>41158.0</c:v>
                </c:pt>
                <c:pt idx="975">
                  <c:v>41159.0</c:v>
                </c:pt>
                <c:pt idx="976">
                  <c:v>41162.0</c:v>
                </c:pt>
                <c:pt idx="977">
                  <c:v>41163.0</c:v>
                </c:pt>
                <c:pt idx="978">
                  <c:v>41164.0</c:v>
                </c:pt>
                <c:pt idx="979">
                  <c:v>41165.0</c:v>
                </c:pt>
                <c:pt idx="980">
                  <c:v>41166.0</c:v>
                </c:pt>
                <c:pt idx="981">
                  <c:v>41169.0</c:v>
                </c:pt>
                <c:pt idx="982">
                  <c:v>41170.0</c:v>
                </c:pt>
                <c:pt idx="983">
                  <c:v>41171.0</c:v>
                </c:pt>
                <c:pt idx="984">
                  <c:v>41172.0</c:v>
                </c:pt>
                <c:pt idx="985">
                  <c:v>41173.0</c:v>
                </c:pt>
                <c:pt idx="986">
                  <c:v>41176.0</c:v>
                </c:pt>
                <c:pt idx="987">
                  <c:v>41177.0</c:v>
                </c:pt>
                <c:pt idx="988">
                  <c:v>41178.0</c:v>
                </c:pt>
                <c:pt idx="989">
                  <c:v>41179.0</c:v>
                </c:pt>
                <c:pt idx="990">
                  <c:v>41180.0</c:v>
                </c:pt>
                <c:pt idx="991">
                  <c:v>41183.0</c:v>
                </c:pt>
                <c:pt idx="992">
                  <c:v>41184.0</c:v>
                </c:pt>
                <c:pt idx="993">
                  <c:v>41185.0</c:v>
                </c:pt>
                <c:pt idx="994">
                  <c:v>41186.0</c:v>
                </c:pt>
                <c:pt idx="995">
                  <c:v>41187.0</c:v>
                </c:pt>
                <c:pt idx="996">
                  <c:v>41191.0</c:v>
                </c:pt>
                <c:pt idx="997">
                  <c:v>41192.0</c:v>
                </c:pt>
                <c:pt idx="998">
                  <c:v>41193.0</c:v>
                </c:pt>
                <c:pt idx="999">
                  <c:v>41194.0</c:v>
                </c:pt>
                <c:pt idx="1000">
                  <c:v>41197.0</c:v>
                </c:pt>
                <c:pt idx="1001">
                  <c:v>41198.0</c:v>
                </c:pt>
                <c:pt idx="1002">
                  <c:v>41199.0</c:v>
                </c:pt>
                <c:pt idx="1003">
                  <c:v>41200.0</c:v>
                </c:pt>
                <c:pt idx="1004">
                  <c:v>41201.0</c:v>
                </c:pt>
                <c:pt idx="1005">
                  <c:v>41204.0</c:v>
                </c:pt>
                <c:pt idx="1006">
                  <c:v>41205.0</c:v>
                </c:pt>
                <c:pt idx="1007">
                  <c:v>41206.0</c:v>
                </c:pt>
                <c:pt idx="1008">
                  <c:v>41207.0</c:v>
                </c:pt>
                <c:pt idx="1009">
                  <c:v>41208.0</c:v>
                </c:pt>
                <c:pt idx="1010">
                  <c:v>41211.0</c:v>
                </c:pt>
                <c:pt idx="1011">
                  <c:v>41212.0</c:v>
                </c:pt>
                <c:pt idx="1012">
                  <c:v>41213.0</c:v>
                </c:pt>
                <c:pt idx="1013">
                  <c:v>41214.0</c:v>
                </c:pt>
                <c:pt idx="1014">
                  <c:v>41215.0</c:v>
                </c:pt>
                <c:pt idx="1015">
                  <c:v>41218.0</c:v>
                </c:pt>
                <c:pt idx="1016">
                  <c:v>41219.0</c:v>
                </c:pt>
                <c:pt idx="1017">
                  <c:v>41220.0</c:v>
                </c:pt>
                <c:pt idx="1018">
                  <c:v>41221.0</c:v>
                </c:pt>
                <c:pt idx="1019">
                  <c:v>41222.0</c:v>
                </c:pt>
                <c:pt idx="1020">
                  <c:v>41225.0</c:v>
                </c:pt>
                <c:pt idx="1021">
                  <c:v>41226.0</c:v>
                </c:pt>
                <c:pt idx="1022">
                  <c:v>41227.0</c:v>
                </c:pt>
                <c:pt idx="1023">
                  <c:v>41228.0</c:v>
                </c:pt>
                <c:pt idx="1024">
                  <c:v>41229.0</c:v>
                </c:pt>
                <c:pt idx="1025">
                  <c:v>41232.0</c:v>
                </c:pt>
                <c:pt idx="1026">
                  <c:v>41233.0</c:v>
                </c:pt>
                <c:pt idx="1027">
                  <c:v>41234.0</c:v>
                </c:pt>
                <c:pt idx="1028">
                  <c:v>41235.0</c:v>
                </c:pt>
                <c:pt idx="1029">
                  <c:v>41236.0</c:v>
                </c:pt>
                <c:pt idx="1030">
                  <c:v>41239.0</c:v>
                </c:pt>
                <c:pt idx="1031">
                  <c:v>41240.0</c:v>
                </c:pt>
                <c:pt idx="1032">
                  <c:v>41241.0</c:v>
                </c:pt>
                <c:pt idx="1033">
                  <c:v>41242.0</c:v>
                </c:pt>
                <c:pt idx="1034">
                  <c:v>41243.0</c:v>
                </c:pt>
                <c:pt idx="1035">
                  <c:v>41246.0</c:v>
                </c:pt>
                <c:pt idx="1036">
                  <c:v>41247.0</c:v>
                </c:pt>
                <c:pt idx="1037">
                  <c:v>41248.0</c:v>
                </c:pt>
                <c:pt idx="1038">
                  <c:v>41249.0</c:v>
                </c:pt>
                <c:pt idx="1039">
                  <c:v>41250.0</c:v>
                </c:pt>
                <c:pt idx="1040">
                  <c:v>41253.0</c:v>
                </c:pt>
                <c:pt idx="1041">
                  <c:v>41254.0</c:v>
                </c:pt>
                <c:pt idx="1042">
                  <c:v>41255.0</c:v>
                </c:pt>
                <c:pt idx="1043">
                  <c:v>41256.0</c:v>
                </c:pt>
                <c:pt idx="1044">
                  <c:v>41257.0</c:v>
                </c:pt>
                <c:pt idx="1045">
                  <c:v>41260.0</c:v>
                </c:pt>
                <c:pt idx="1046">
                  <c:v>41261.0</c:v>
                </c:pt>
                <c:pt idx="1047">
                  <c:v>41262.0</c:v>
                </c:pt>
                <c:pt idx="1048">
                  <c:v>41263.0</c:v>
                </c:pt>
                <c:pt idx="1049">
                  <c:v>41264.0</c:v>
                </c:pt>
                <c:pt idx="1050">
                  <c:v>41267.0</c:v>
                </c:pt>
                <c:pt idx="1051">
                  <c:v>41270.0</c:v>
                </c:pt>
                <c:pt idx="1052">
                  <c:v>41271.0</c:v>
                </c:pt>
                <c:pt idx="1053">
                  <c:v>41274.0</c:v>
                </c:pt>
                <c:pt idx="1054">
                  <c:v>41276.0</c:v>
                </c:pt>
                <c:pt idx="1055">
                  <c:v>41277.0</c:v>
                </c:pt>
                <c:pt idx="1056">
                  <c:v>41278.0</c:v>
                </c:pt>
                <c:pt idx="1057">
                  <c:v>41281.0</c:v>
                </c:pt>
                <c:pt idx="1058">
                  <c:v>41282.0</c:v>
                </c:pt>
                <c:pt idx="1059">
                  <c:v>41283.0</c:v>
                </c:pt>
                <c:pt idx="1060">
                  <c:v>41284.0</c:v>
                </c:pt>
                <c:pt idx="1061">
                  <c:v>41285.0</c:v>
                </c:pt>
                <c:pt idx="1062">
                  <c:v>41288.0</c:v>
                </c:pt>
                <c:pt idx="1063">
                  <c:v>41289.0</c:v>
                </c:pt>
                <c:pt idx="1064">
                  <c:v>41290.0</c:v>
                </c:pt>
                <c:pt idx="1065">
                  <c:v>41291.0</c:v>
                </c:pt>
                <c:pt idx="1066">
                  <c:v>41292.0</c:v>
                </c:pt>
                <c:pt idx="1067">
                  <c:v>41295.0</c:v>
                </c:pt>
                <c:pt idx="1068">
                  <c:v>41296.0</c:v>
                </c:pt>
                <c:pt idx="1069">
                  <c:v>41297.0</c:v>
                </c:pt>
                <c:pt idx="1070">
                  <c:v>41298.0</c:v>
                </c:pt>
                <c:pt idx="1071">
                  <c:v>41299.0</c:v>
                </c:pt>
                <c:pt idx="1072">
                  <c:v>41302.0</c:v>
                </c:pt>
                <c:pt idx="1073">
                  <c:v>41303.0</c:v>
                </c:pt>
                <c:pt idx="1074">
                  <c:v>41304.0</c:v>
                </c:pt>
                <c:pt idx="1075">
                  <c:v>41305.0</c:v>
                </c:pt>
                <c:pt idx="1076">
                  <c:v>41306.0</c:v>
                </c:pt>
                <c:pt idx="1077">
                  <c:v>41309.0</c:v>
                </c:pt>
                <c:pt idx="1078">
                  <c:v>41310.0</c:v>
                </c:pt>
                <c:pt idx="1079">
                  <c:v>41311.0</c:v>
                </c:pt>
                <c:pt idx="1080">
                  <c:v>41312.0</c:v>
                </c:pt>
                <c:pt idx="1081">
                  <c:v>41313.0</c:v>
                </c:pt>
                <c:pt idx="1082">
                  <c:v>41316.0</c:v>
                </c:pt>
                <c:pt idx="1083">
                  <c:v>41317.0</c:v>
                </c:pt>
                <c:pt idx="1084">
                  <c:v>41318.0</c:v>
                </c:pt>
                <c:pt idx="1085">
                  <c:v>41319.0</c:v>
                </c:pt>
                <c:pt idx="1086">
                  <c:v>41320.0</c:v>
                </c:pt>
                <c:pt idx="1087">
                  <c:v>41324.0</c:v>
                </c:pt>
                <c:pt idx="1088">
                  <c:v>41325.0</c:v>
                </c:pt>
                <c:pt idx="1089">
                  <c:v>41326.0</c:v>
                </c:pt>
                <c:pt idx="1090">
                  <c:v>41327.0</c:v>
                </c:pt>
                <c:pt idx="1091">
                  <c:v>41330.0</c:v>
                </c:pt>
                <c:pt idx="1092">
                  <c:v>41331.0</c:v>
                </c:pt>
                <c:pt idx="1093">
                  <c:v>41332.0</c:v>
                </c:pt>
                <c:pt idx="1094">
                  <c:v>41333.0</c:v>
                </c:pt>
                <c:pt idx="1095">
                  <c:v>41334.0</c:v>
                </c:pt>
                <c:pt idx="1096">
                  <c:v>41337.0</c:v>
                </c:pt>
                <c:pt idx="1097">
                  <c:v>41338.0</c:v>
                </c:pt>
                <c:pt idx="1098">
                  <c:v>41339.0</c:v>
                </c:pt>
                <c:pt idx="1099">
                  <c:v>41340.0</c:v>
                </c:pt>
                <c:pt idx="1100">
                  <c:v>41341.0</c:v>
                </c:pt>
                <c:pt idx="1101">
                  <c:v>41344.0</c:v>
                </c:pt>
                <c:pt idx="1102">
                  <c:v>41345.0</c:v>
                </c:pt>
                <c:pt idx="1103">
                  <c:v>41346.0</c:v>
                </c:pt>
                <c:pt idx="1104">
                  <c:v>41347.0</c:v>
                </c:pt>
                <c:pt idx="1105">
                  <c:v>41348.0</c:v>
                </c:pt>
                <c:pt idx="1106">
                  <c:v>41351.0</c:v>
                </c:pt>
                <c:pt idx="1107">
                  <c:v>41352.0</c:v>
                </c:pt>
                <c:pt idx="1108">
                  <c:v>41353.0</c:v>
                </c:pt>
                <c:pt idx="1109">
                  <c:v>41354.0</c:v>
                </c:pt>
                <c:pt idx="1110">
                  <c:v>41355.0</c:v>
                </c:pt>
                <c:pt idx="1111">
                  <c:v>41358.0</c:v>
                </c:pt>
                <c:pt idx="1112">
                  <c:v>41359.0</c:v>
                </c:pt>
                <c:pt idx="1113">
                  <c:v>41360.0</c:v>
                </c:pt>
                <c:pt idx="1114">
                  <c:v>41361.0</c:v>
                </c:pt>
                <c:pt idx="1115">
                  <c:v>41365.0</c:v>
                </c:pt>
                <c:pt idx="1116">
                  <c:v>41366.0</c:v>
                </c:pt>
                <c:pt idx="1117">
                  <c:v>41367.0</c:v>
                </c:pt>
                <c:pt idx="1118">
                  <c:v>41368.0</c:v>
                </c:pt>
                <c:pt idx="1119">
                  <c:v>41369.0</c:v>
                </c:pt>
                <c:pt idx="1120">
                  <c:v>41372.0</c:v>
                </c:pt>
                <c:pt idx="1121">
                  <c:v>41373.0</c:v>
                </c:pt>
                <c:pt idx="1122">
                  <c:v>41374.0</c:v>
                </c:pt>
                <c:pt idx="1123">
                  <c:v>41375.0</c:v>
                </c:pt>
                <c:pt idx="1124">
                  <c:v>41376.0</c:v>
                </c:pt>
                <c:pt idx="1125">
                  <c:v>41379.0</c:v>
                </c:pt>
                <c:pt idx="1126">
                  <c:v>41380.0</c:v>
                </c:pt>
                <c:pt idx="1127">
                  <c:v>41381.0</c:v>
                </c:pt>
                <c:pt idx="1128">
                  <c:v>41382.0</c:v>
                </c:pt>
                <c:pt idx="1129">
                  <c:v>41383.0</c:v>
                </c:pt>
                <c:pt idx="1130">
                  <c:v>41386.0</c:v>
                </c:pt>
                <c:pt idx="1131">
                  <c:v>41387.0</c:v>
                </c:pt>
                <c:pt idx="1132">
                  <c:v>41388.0</c:v>
                </c:pt>
                <c:pt idx="1133">
                  <c:v>41389.0</c:v>
                </c:pt>
                <c:pt idx="1134">
                  <c:v>41390.0</c:v>
                </c:pt>
                <c:pt idx="1135">
                  <c:v>41393.0</c:v>
                </c:pt>
                <c:pt idx="1136">
                  <c:v>41394.0</c:v>
                </c:pt>
                <c:pt idx="1137">
                  <c:v>41395.0</c:v>
                </c:pt>
                <c:pt idx="1138">
                  <c:v>41396.0</c:v>
                </c:pt>
                <c:pt idx="1139">
                  <c:v>41397.0</c:v>
                </c:pt>
                <c:pt idx="1140">
                  <c:v>41400.0</c:v>
                </c:pt>
                <c:pt idx="1141">
                  <c:v>41401.0</c:v>
                </c:pt>
                <c:pt idx="1142">
                  <c:v>41402.0</c:v>
                </c:pt>
                <c:pt idx="1143">
                  <c:v>41403.0</c:v>
                </c:pt>
                <c:pt idx="1144">
                  <c:v>41404.0</c:v>
                </c:pt>
                <c:pt idx="1145">
                  <c:v>41407.0</c:v>
                </c:pt>
                <c:pt idx="1146">
                  <c:v>41408.0</c:v>
                </c:pt>
                <c:pt idx="1147">
                  <c:v>41409.0</c:v>
                </c:pt>
                <c:pt idx="1148">
                  <c:v>41410.0</c:v>
                </c:pt>
                <c:pt idx="1149">
                  <c:v>41411.0</c:v>
                </c:pt>
                <c:pt idx="1150">
                  <c:v>41415.0</c:v>
                </c:pt>
                <c:pt idx="1151">
                  <c:v>41416.0</c:v>
                </c:pt>
                <c:pt idx="1152">
                  <c:v>41417.0</c:v>
                </c:pt>
                <c:pt idx="1153">
                  <c:v>41418.0</c:v>
                </c:pt>
                <c:pt idx="1154">
                  <c:v>41421.0</c:v>
                </c:pt>
                <c:pt idx="1155">
                  <c:v>41422.0</c:v>
                </c:pt>
                <c:pt idx="1156">
                  <c:v>41423.0</c:v>
                </c:pt>
                <c:pt idx="1157">
                  <c:v>41424.0</c:v>
                </c:pt>
                <c:pt idx="1158">
                  <c:v>41425.0</c:v>
                </c:pt>
                <c:pt idx="1159">
                  <c:v>41428.0</c:v>
                </c:pt>
                <c:pt idx="1160">
                  <c:v>41429.0</c:v>
                </c:pt>
                <c:pt idx="1161">
                  <c:v>41430.0</c:v>
                </c:pt>
                <c:pt idx="1162">
                  <c:v>41431.0</c:v>
                </c:pt>
                <c:pt idx="1163">
                  <c:v>41432.0</c:v>
                </c:pt>
                <c:pt idx="1164">
                  <c:v>41435.0</c:v>
                </c:pt>
                <c:pt idx="1165">
                  <c:v>41436.0</c:v>
                </c:pt>
                <c:pt idx="1166">
                  <c:v>41437.0</c:v>
                </c:pt>
                <c:pt idx="1167">
                  <c:v>41438.0</c:v>
                </c:pt>
                <c:pt idx="1168">
                  <c:v>41439.0</c:v>
                </c:pt>
                <c:pt idx="1169">
                  <c:v>41442.0</c:v>
                </c:pt>
                <c:pt idx="1170">
                  <c:v>41443.0</c:v>
                </c:pt>
                <c:pt idx="1171">
                  <c:v>41444.0</c:v>
                </c:pt>
                <c:pt idx="1172">
                  <c:v>41445.0</c:v>
                </c:pt>
                <c:pt idx="1173">
                  <c:v>41446.0</c:v>
                </c:pt>
                <c:pt idx="1174">
                  <c:v>41449.0</c:v>
                </c:pt>
                <c:pt idx="1175">
                  <c:v>41450.0</c:v>
                </c:pt>
                <c:pt idx="1176">
                  <c:v>41451.0</c:v>
                </c:pt>
                <c:pt idx="1177">
                  <c:v>41452.0</c:v>
                </c:pt>
                <c:pt idx="1178">
                  <c:v>41453.0</c:v>
                </c:pt>
                <c:pt idx="1179">
                  <c:v>41457.0</c:v>
                </c:pt>
                <c:pt idx="1180">
                  <c:v>41458.0</c:v>
                </c:pt>
                <c:pt idx="1181">
                  <c:v>41459.0</c:v>
                </c:pt>
                <c:pt idx="1182">
                  <c:v>41460.0</c:v>
                </c:pt>
                <c:pt idx="1183">
                  <c:v>41463.0</c:v>
                </c:pt>
                <c:pt idx="1184">
                  <c:v>41464.0</c:v>
                </c:pt>
                <c:pt idx="1185">
                  <c:v>41465.0</c:v>
                </c:pt>
                <c:pt idx="1186">
                  <c:v>41466.0</c:v>
                </c:pt>
                <c:pt idx="1187">
                  <c:v>41467.0</c:v>
                </c:pt>
                <c:pt idx="1188">
                  <c:v>41470.0</c:v>
                </c:pt>
                <c:pt idx="1189">
                  <c:v>41471.0</c:v>
                </c:pt>
                <c:pt idx="1190">
                  <c:v>41472.0</c:v>
                </c:pt>
                <c:pt idx="1191">
                  <c:v>41473.0</c:v>
                </c:pt>
                <c:pt idx="1192">
                  <c:v>41474.0</c:v>
                </c:pt>
                <c:pt idx="1193">
                  <c:v>41477.0</c:v>
                </c:pt>
                <c:pt idx="1194">
                  <c:v>41478.0</c:v>
                </c:pt>
                <c:pt idx="1195">
                  <c:v>41479.0</c:v>
                </c:pt>
                <c:pt idx="1196">
                  <c:v>41480.0</c:v>
                </c:pt>
                <c:pt idx="1197">
                  <c:v>41481.0</c:v>
                </c:pt>
                <c:pt idx="1198">
                  <c:v>41484.0</c:v>
                </c:pt>
                <c:pt idx="1199">
                  <c:v>41485.0</c:v>
                </c:pt>
                <c:pt idx="1200">
                  <c:v>41486.0</c:v>
                </c:pt>
                <c:pt idx="1201">
                  <c:v>41487.0</c:v>
                </c:pt>
                <c:pt idx="1202">
                  <c:v>41488.0</c:v>
                </c:pt>
                <c:pt idx="1203">
                  <c:v>41492.0</c:v>
                </c:pt>
                <c:pt idx="1204">
                  <c:v>41493.0</c:v>
                </c:pt>
                <c:pt idx="1205">
                  <c:v>41494.0</c:v>
                </c:pt>
                <c:pt idx="1206">
                  <c:v>41495.0</c:v>
                </c:pt>
                <c:pt idx="1207">
                  <c:v>41498.0</c:v>
                </c:pt>
                <c:pt idx="1208">
                  <c:v>41499.0</c:v>
                </c:pt>
                <c:pt idx="1209">
                  <c:v>41500.0</c:v>
                </c:pt>
                <c:pt idx="1210">
                  <c:v>41501.0</c:v>
                </c:pt>
                <c:pt idx="1211">
                  <c:v>41502.0</c:v>
                </c:pt>
                <c:pt idx="1212">
                  <c:v>41505.0</c:v>
                </c:pt>
                <c:pt idx="1213">
                  <c:v>41506.0</c:v>
                </c:pt>
                <c:pt idx="1214">
                  <c:v>41507.0</c:v>
                </c:pt>
                <c:pt idx="1215">
                  <c:v>41508.0</c:v>
                </c:pt>
                <c:pt idx="1216">
                  <c:v>41509.0</c:v>
                </c:pt>
                <c:pt idx="1217">
                  <c:v>41512.0</c:v>
                </c:pt>
                <c:pt idx="1218">
                  <c:v>41513.0</c:v>
                </c:pt>
                <c:pt idx="1219">
                  <c:v>41514.0</c:v>
                </c:pt>
                <c:pt idx="1220">
                  <c:v>41515.0</c:v>
                </c:pt>
                <c:pt idx="1221">
                  <c:v>41516.0</c:v>
                </c:pt>
                <c:pt idx="1222">
                  <c:v>41520.0</c:v>
                </c:pt>
                <c:pt idx="1223">
                  <c:v>41521.0</c:v>
                </c:pt>
                <c:pt idx="1224">
                  <c:v>41522.0</c:v>
                </c:pt>
                <c:pt idx="1225">
                  <c:v>41523.0</c:v>
                </c:pt>
                <c:pt idx="1226">
                  <c:v>41526.0</c:v>
                </c:pt>
                <c:pt idx="1227">
                  <c:v>41527.0</c:v>
                </c:pt>
                <c:pt idx="1228">
                  <c:v>41528.0</c:v>
                </c:pt>
                <c:pt idx="1229">
                  <c:v>41529.0</c:v>
                </c:pt>
                <c:pt idx="1230">
                  <c:v>41530.0</c:v>
                </c:pt>
                <c:pt idx="1231">
                  <c:v>41533.0</c:v>
                </c:pt>
                <c:pt idx="1232">
                  <c:v>41534.0</c:v>
                </c:pt>
                <c:pt idx="1233">
                  <c:v>41535.0</c:v>
                </c:pt>
                <c:pt idx="1234">
                  <c:v>41536.0</c:v>
                </c:pt>
                <c:pt idx="1235">
                  <c:v>41537.0</c:v>
                </c:pt>
                <c:pt idx="1236">
                  <c:v>41540.0</c:v>
                </c:pt>
                <c:pt idx="1237">
                  <c:v>41541.0</c:v>
                </c:pt>
                <c:pt idx="1238">
                  <c:v>41542.0</c:v>
                </c:pt>
                <c:pt idx="1239">
                  <c:v>41543.0</c:v>
                </c:pt>
                <c:pt idx="1240">
                  <c:v>41544.0</c:v>
                </c:pt>
                <c:pt idx="1241">
                  <c:v>41547.0</c:v>
                </c:pt>
                <c:pt idx="1242">
                  <c:v>41548.0</c:v>
                </c:pt>
                <c:pt idx="1243">
                  <c:v>41549.0</c:v>
                </c:pt>
                <c:pt idx="1244">
                  <c:v>41550.0</c:v>
                </c:pt>
                <c:pt idx="1245">
                  <c:v>41551.0</c:v>
                </c:pt>
                <c:pt idx="1246">
                  <c:v>41554.0</c:v>
                </c:pt>
                <c:pt idx="1247">
                  <c:v>41555.0</c:v>
                </c:pt>
                <c:pt idx="1248">
                  <c:v>41556.0</c:v>
                </c:pt>
                <c:pt idx="1249">
                  <c:v>41557.0</c:v>
                </c:pt>
                <c:pt idx="1250">
                  <c:v>41558.0</c:v>
                </c:pt>
                <c:pt idx="1251">
                  <c:v>41562.0</c:v>
                </c:pt>
                <c:pt idx="1252">
                  <c:v>41563.0</c:v>
                </c:pt>
                <c:pt idx="1253">
                  <c:v>41564.0</c:v>
                </c:pt>
                <c:pt idx="1254">
                  <c:v>41565.0</c:v>
                </c:pt>
              </c:numCache>
            </c:numRef>
          </c:cat>
          <c:val>
            <c:numRef>
              <c:f>'Chart 1 with Data'!$B$34:$B$1288</c:f>
              <c:numCache>
                <c:formatCode>0.00</c:formatCode>
                <c:ptCount val="1255"/>
                <c:pt idx="0">
                  <c:v>54.301975</c:v>
                </c:pt>
                <c:pt idx="1">
                  <c:v>50.59815000000004</c:v>
                </c:pt>
                <c:pt idx="2">
                  <c:v>48.41212700000001</c:v>
                </c:pt>
                <c:pt idx="3">
                  <c:v>46.24125900000001</c:v>
                </c:pt>
                <c:pt idx="4">
                  <c:v>45.792487</c:v>
                </c:pt>
                <c:pt idx="5">
                  <c:v>41.941703</c:v>
                </c:pt>
                <c:pt idx="6">
                  <c:v>47.122441</c:v>
                </c:pt>
                <c:pt idx="7">
                  <c:v>47.881217</c:v>
                </c:pt>
                <c:pt idx="8">
                  <c:v>47.3443</c:v>
                </c:pt>
                <c:pt idx="9">
                  <c:v>50.388109</c:v>
                </c:pt>
                <c:pt idx="10">
                  <c:v>52.98988</c:v>
                </c:pt>
                <c:pt idx="11">
                  <c:v>55.42085200000001</c:v>
                </c:pt>
                <c:pt idx="12">
                  <c:v>53.576028</c:v>
                </c:pt>
                <c:pt idx="13">
                  <c:v>48.033827</c:v>
                </c:pt>
                <c:pt idx="14">
                  <c:v>49.00981700000001</c:v>
                </c:pt>
                <c:pt idx="15">
                  <c:v>46.964075</c:v>
                </c:pt>
                <c:pt idx="16">
                  <c:v>45.47863500000001</c:v>
                </c:pt>
                <c:pt idx="17">
                  <c:v>43.637548</c:v>
                </c:pt>
                <c:pt idx="18">
                  <c:v>43.540786</c:v>
                </c:pt>
                <c:pt idx="19">
                  <c:v>40.397676</c:v>
                </c:pt>
                <c:pt idx="20">
                  <c:v>41.862729</c:v>
                </c:pt>
                <c:pt idx="21">
                  <c:v>47.24666000000001</c:v>
                </c:pt>
                <c:pt idx="22">
                  <c:v>46.289867</c:v>
                </c:pt>
                <c:pt idx="23">
                  <c:v>41.976365</c:v>
                </c:pt>
                <c:pt idx="24">
                  <c:v>44.68383</c:v>
                </c:pt>
                <c:pt idx="25">
                  <c:v>45.037484</c:v>
                </c:pt>
                <c:pt idx="26">
                  <c:v>41.607933</c:v>
                </c:pt>
                <c:pt idx="27">
                  <c:v>44.47679100000001</c:v>
                </c:pt>
                <c:pt idx="28">
                  <c:v>43.77230000000003</c:v>
                </c:pt>
                <c:pt idx="29">
                  <c:v>43.717162</c:v>
                </c:pt>
                <c:pt idx="30">
                  <c:v>40.443012</c:v>
                </c:pt>
                <c:pt idx="31">
                  <c:v>37.20967500000001</c:v>
                </c:pt>
                <c:pt idx="32">
                  <c:v>38.85886799999996</c:v>
                </c:pt>
                <c:pt idx="33">
                  <c:v>37.92611400000001</c:v>
                </c:pt>
                <c:pt idx="34">
                  <c:v>38.680406</c:v>
                </c:pt>
                <c:pt idx="35">
                  <c:v>40.797839</c:v>
                </c:pt>
                <c:pt idx="36">
                  <c:v>39.059103</c:v>
                </c:pt>
                <c:pt idx="37">
                  <c:v>38.607645</c:v>
                </c:pt>
                <c:pt idx="38">
                  <c:v>38.104196</c:v>
                </c:pt>
                <c:pt idx="39">
                  <c:v>39.057592</c:v>
                </c:pt>
                <c:pt idx="40">
                  <c:v>36.834439</c:v>
                </c:pt>
                <c:pt idx="41">
                  <c:v>39.333279</c:v>
                </c:pt>
                <c:pt idx="42">
                  <c:v>40.93058000000001</c:v>
                </c:pt>
                <c:pt idx="43">
                  <c:v>39.117696</c:v>
                </c:pt>
                <c:pt idx="44">
                  <c:v>43.58345600000001</c:v>
                </c:pt>
                <c:pt idx="45">
                  <c:v>41.07216200000001</c:v>
                </c:pt>
                <c:pt idx="46">
                  <c:v>41.468221</c:v>
                </c:pt>
                <c:pt idx="47">
                  <c:v>40.989748</c:v>
                </c:pt>
                <c:pt idx="48">
                  <c:v>38.79423300000001</c:v>
                </c:pt>
                <c:pt idx="49">
                  <c:v>38.72232700000003</c:v>
                </c:pt>
                <c:pt idx="50">
                  <c:v>40.33243700000001</c:v>
                </c:pt>
                <c:pt idx="51">
                  <c:v>41.93123900000001</c:v>
                </c:pt>
                <c:pt idx="52">
                  <c:v>43.514785</c:v>
                </c:pt>
                <c:pt idx="53">
                  <c:v>46.52731000000003</c:v>
                </c:pt>
                <c:pt idx="54">
                  <c:v>46.936543</c:v>
                </c:pt>
                <c:pt idx="55">
                  <c:v>46.255692</c:v>
                </c:pt>
                <c:pt idx="56">
                  <c:v>47.72860900000001</c:v>
                </c:pt>
                <c:pt idx="57">
                  <c:v>46.672464</c:v>
                </c:pt>
                <c:pt idx="58">
                  <c:v>46.313815</c:v>
                </c:pt>
                <c:pt idx="59">
                  <c:v>45.360908</c:v>
                </c:pt>
                <c:pt idx="60">
                  <c:v>49.134208</c:v>
                </c:pt>
                <c:pt idx="61">
                  <c:v>51.12679400000001</c:v>
                </c:pt>
                <c:pt idx="62">
                  <c:v>50.764453</c:v>
                </c:pt>
                <c:pt idx="63">
                  <c:v>49.984132</c:v>
                </c:pt>
                <c:pt idx="64">
                  <c:v>52.35704799999986</c:v>
                </c:pt>
                <c:pt idx="65">
                  <c:v>52.011722</c:v>
                </c:pt>
                <c:pt idx="66">
                  <c:v>52.26898200000003</c:v>
                </c:pt>
                <c:pt idx="67">
                  <c:v>51.02725700000001</c:v>
                </c:pt>
                <c:pt idx="68">
                  <c:v>53.797983</c:v>
                </c:pt>
                <c:pt idx="69">
                  <c:v>56.983194</c:v>
                </c:pt>
                <c:pt idx="70">
                  <c:v>55.10841000000001</c:v>
                </c:pt>
                <c:pt idx="71">
                  <c:v>54.758442</c:v>
                </c:pt>
                <c:pt idx="72">
                  <c:v>56.041919</c:v>
                </c:pt>
                <c:pt idx="73">
                  <c:v>55.41845900000001</c:v>
                </c:pt>
                <c:pt idx="74">
                  <c:v>56.327695</c:v>
                </c:pt>
                <c:pt idx="75">
                  <c:v>56.834065</c:v>
                </c:pt>
                <c:pt idx="76">
                  <c:v>58.12641100000001</c:v>
                </c:pt>
                <c:pt idx="77">
                  <c:v>58.92974400000001</c:v>
                </c:pt>
                <c:pt idx="78">
                  <c:v>57.752791</c:v>
                </c:pt>
                <c:pt idx="79">
                  <c:v>48.25866600000001</c:v>
                </c:pt>
                <c:pt idx="80">
                  <c:v>50.561347</c:v>
                </c:pt>
                <c:pt idx="81">
                  <c:v>48.267824</c:v>
                </c:pt>
                <c:pt idx="82">
                  <c:v>44.805452</c:v>
                </c:pt>
                <c:pt idx="83">
                  <c:v>41.9506</c:v>
                </c:pt>
                <c:pt idx="84">
                  <c:v>42.24679800000001</c:v>
                </c:pt>
                <c:pt idx="85">
                  <c:v>38.70583600000001</c:v>
                </c:pt>
                <c:pt idx="86">
                  <c:v>37.46699700000001</c:v>
                </c:pt>
                <c:pt idx="87">
                  <c:v>40.61859800000001</c:v>
                </c:pt>
                <c:pt idx="88">
                  <c:v>41.27754400000001</c:v>
                </c:pt>
                <c:pt idx="89">
                  <c:v>40.03535800000004</c:v>
                </c:pt>
                <c:pt idx="90">
                  <c:v>39.96227000000001</c:v>
                </c:pt>
                <c:pt idx="91">
                  <c:v>37.186554</c:v>
                </c:pt>
                <c:pt idx="92">
                  <c:v>37.96353500000003</c:v>
                </c:pt>
                <c:pt idx="93">
                  <c:v>40.448648</c:v>
                </c:pt>
                <c:pt idx="94">
                  <c:v>37.86550800000001</c:v>
                </c:pt>
                <c:pt idx="95">
                  <c:v>36.19979800000003</c:v>
                </c:pt>
                <c:pt idx="96">
                  <c:v>35.457983</c:v>
                </c:pt>
                <c:pt idx="97">
                  <c:v>39.21415800000001</c:v>
                </c:pt>
                <c:pt idx="98">
                  <c:v>40.460629</c:v>
                </c:pt>
                <c:pt idx="99">
                  <c:v>40.592984</c:v>
                </c:pt>
                <c:pt idx="100">
                  <c:v>40.20270300000003</c:v>
                </c:pt>
                <c:pt idx="101">
                  <c:v>39.195466</c:v>
                </c:pt>
                <c:pt idx="102">
                  <c:v>41.66863300000003</c:v>
                </c:pt>
                <c:pt idx="103">
                  <c:v>40.067525</c:v>
                </c:pt>
                <c:pt idx="104">
                  <c:v>42.319216</c:v>
                </c:pt>
                <c:pt idx="105">
                  <c:v>41.491427</c:v>
                </c:pt>
                <c:pt idx="106">
                  <c:v>44.52359800000003</c:v>
                </c:pt>
                <c:pt idx="107">
                  <c:v>44.700987</c:v>
                </c:pt>
                <c:pt idx="108">
                  <c:v>42.73594900000001</c:v>
                </c:pt>
                <c:pt idx="109">
                  <c:v>45.060926</c:v>
                </c:pt>
                <c:pt idx="110">
                  <c:v>45.030655</c:v>
                </c:pt>
                <c:pt idx="111">
                  <c:v>43.62854400000001</c:v>
                </c:pt>
                <c:pt idx="112">
                  <c:v>43.394123</c:v>
                </c:pt>
                <c:pt idx="113">
                  <c:v>45.547837</c:v>
                </c:pt>
                <c:pt idx="114">
                  <c:v>49.23710300000001</c:v>
                </c:pt>
                <c:pt idx="115">
                  <c:v>58.909209</c:v>
                </c:pt>
                <c:pt idx="116">
                  <c:v>62.86197600000001</c:v>
                </c:pt>
                <c:pt idx="117">
                  <c:v>59.86895300000001</c:v>
                </c:pt>
                <c:pt idx="118">
                  <c:v>62.18935600000001</c:v>
                </c:pt>
                <c:pt idx="119">
                  <c:v>64.351512</c:v>
                </c:pt>
                <c:pt idx="120">
                  <c:v>63.815521</c:v>
                </c:pt>
                <c:pt idx="121">
                  <c:v>64.591408</c:v>
                </c:pt>
                <c:pt idx="122">
                  <c:v>63.77508700000001</c:v>
                </c:pt>
                <c:pt idx="123">
                  <c:v>67.959556</c:v>
                </c:pt>
                <c:pt idx="124">
                  <c:v>68.668644</c:v>
                </c:pt>
                <c:pt idx="125">
                  <c:v>65.31257599999998</c:v>
                </c:pt>
                <c:pt idx="126">
                  <c:v>66.650529</c:v>
                </c:pt>
                <c:pt idx="127">
                  <c:v>67.66539799999973</c:v>
                </c:pt>
                <c:pt idx="128">
                  <c:v>68.036195</c:v>
                </c:pt>
                <c:pt idx="129">
                  <c:v>68.96266600000002</c:v>
                </c:pt>
                <c:pt idx="130">
                  <c:v>69.709235</c:v>
                </c:pt>
                <c:pt idx="131">
                  <c:v>68.08510599999998</c:v>
                </c:pt>
                <c:pt idx="132">
                  <c:v>66.616704</c:v>
                </c:pt>
                <c:pt idx="133">
                  <c:v>69.263087</c:v>
                </c:pt>
                <c:pt idx="134">
                  <c:v>72.43562700000002</c:v>
                </c:pt>
                <c:pt idx="135">
                  <c:v>74.148161</c:v>
                </c:pt>
                <c:pt idx="136">
                  <c:v>75.335599</c:v>
                </c:pt>
                <c:pt idx="137">
                  <c:v>76.32632199999995</c:v>
                </c:pt>
                <c:pt idx="138">
                  <c:v>73.24916800000002</c:v>
                </c:pt>
                <c:pt idx="139">
                  <c:v>73.30746</c:v>
                </c:pt>
                <c:pt idx="140">
                  <c:v>73.72779</c:v>
                </c:pt>
                <c:pt idx="141">
                  <c:v>71.50818799999992</c:v>
                </c:pt>
                <c:pt idx="142">
                  <c:v>69.933968</c:v>
                </c:pt>
                <c:pt idx="143">
                  <c:v>70.691417</c:v>
                </c:pt>
                <c:pt idx="144">
                  <c:v>72.796379</c:v>
                </c:pt>
                <c:pt idx="145">
                  <c:v>75.11453</c:v>
                </c:pt>
                <c:pt idx="146">
                  <c:v>75.65887399999974</c:v>
                </c:pt>
                <c:pt idx="147">
                  <c:v>72.20377499999998</c:v>
                </c:pt>
                <c:pt idx="148">
                  <c:v>71.74125800000008</c:v>
                </c:pt>
                <c:pt idx="149">
                  <c:v>72.70464900000008</c:v>
                </c:pt>
                <c:pt idx="150">
                  <c:v>76.52197199999995</c:v>
                </c:pt>
                <c:pt idx="151">
                  <c:v>77.727804</c:v>
                </c:pt>
                <c:pt idx="152">
                  <c:v>80.36324400000002</c:v>
                </c:pt>
                <c:pt idx="153">
                  <c:v>78.052564</c:v>
                </c:pt>
                <c:pt idx="154">
                  <c:v>82.316176</c:v>
                </c:pt>
                <c:pt idx="155">
                  <c:v>82.650513</c:v>
                </c:pt>
                <c:pt idx="156">
                  <c:v>81.146868</c:v>
                </c:pt>
                <c:pt idx="157">
                  <c:v>82.14578999999995</c:v>
                </c:pt>
                <c:pt idx="158">
                  <c:v>83.026658</c:v>
                </c:pt>
                <c:pt idx="159">
                  <c:v>81.51641900000002</c:v>
                </c:pt>
                <c:pt idx="160">
                  <c:v>82.17489799999976</c:v>
                </c:pt>
                <c:pt idx="161">
                  <c:v>83.824196</c:v>
                </c:pt>
                <c:pt idx="162">
                  <c:v>85.9145950000001</c:v>
                </c:pt>
                <c:pt idx="163">
                  <c:v>83.07967799999979</c:v>
                </c:pt>
                <c:pt idx="164">
                  <c:v>79.98240199999998</c:v>
                </c:pt>
                <c:pt idx="165">
                  <c:v>80.37135299999976</c:v>
                </c:pt>
                <c:pt idx="166">
                  <c:v>76.489688</c:v>
                </c:pt>
                <c:pt idx="167">
                  <c:v>77.07334399999995</c:v>
                </c:pt>
                <c:pt idx="168">
                  <c:v>74.12303899999959</c:v>
                </c:pt>
                <c:pt idx="169">
                  <c:v>68.188513</c:v>
                </c:pt>
                <c:pt idx="170">
                  <c:v>69.46366800000002</c:v>
                </c:pt>
                <c:pt idx="171">
                  <c:v>71.38238399999979</c:v>
                </c:pt>
                <c:pt idx="172">
                  <c:v>69.08087599999992</c:v>
                </c:pt>
                <c:pt idx="173">
                  <c:v>70.79899400000002</c:v>
                </c:pt>
                <c:pt idx="174">
                  <c:v>69.588119</c:v>
                </c:pt>
                <c:pt idx="175">
                  <c:v>71.08589099999992</c:v>
                </c:pt>
                <c:pt idx="176">
                  <c:v>69.70114500000002</c:v>
                </c:pt>
                <c:pt idx="177">
                  <c:v>69.87162900000002</c:v>
                </c:pt>
                <c:pt idx="178">
                  <c:v>68.45320000000002</c:v>
                </c:pt>
                <c:pt idx="179">
                  <c:v>66.712576</c:v>
                </c:pt>
                <c:pt idx="180">
                  <c:v>65.605423</c:v>
                </c:pt>
                <c:pt idx="181">
                  <c:v>66.33092300000002</c:v>
                </c:pt>
                <c:pt idx="182">
                  <c:v>66.86685</c:v>
                </c:pt>
                <c:pt idx="183">
                  <c:v>66.442316</c:v>
                </c:pt>
                <c:pt idx="184">
                  <c:v>66.30874799999967</c:v>
                </c:pt>
                <c:pt idx="185">
                  <c:v>70.062556</c:v>
                </c:pt>
                <c:pt idx="186">
                  <c:v>72.15122000000002</c:v>
                </c:pt>
                <c:pt idx="187">
                  <c:v>72.29185300000007</c:v>
                </c:pt>
                <c:pt idx="188">
                  <c:v>75.11287699999974</c:v>
                </c:pt>
                <c:pt idx="189">
                  <c:v>74.374093</c:v>
                </c:pt>
                <c:pt idx="190">
                  <c:v>73.24366100000007</c:v>
                </c:pt>
                <c:pt idx="191">
                  <c:v>76.772053</c:v>
                </c:pt>
                <c:pt idx="192">
                  <c:v>76.20543099999995</c:v>
                </c:pt>
                <c:pt idx="193">
                  <c:v>77.59608299999998</c:v>
                </c:pt>
                <c:pt idx="194">
                  <c:v>76.199651</c:v>
                </c:pt>
                <c:pt idx="195">
                  <c:v>75.458043</c:v>
                </c:pt>
                <c:pt idx="196">
                  <c:v>76.48526300000008</c:v>
                </c:pt>
                <c:pt idx="197">
                  <c:v>75.73121100000008</c:v>
                </c:pt>
                <c:pt idx="198">
                  <c:v>79.12725899999998</c:v>
                </c:pt>
                <c:pt idx="199">
                  <c:v>80.22952000000002</c:v>
                </c:pt>
                <c:pt idx="200">
                  <c:v>77.15905899999976</c:v>
                </c:pt>
                <c:pt idx="201">
                  <c:v>77.187962</c:v>
                </c:pt>
                <c:pt idx="202">
                  <c:v>73.54433899999998</c:v>
                </c:pt>
                <c:pt idx="203">
                  <c:v>72.12280899999958</c:v>
                </c:pt>
                <c:pt idx="204">
                  <c:v>71.599045</c:v>
                </c:pt>
                <c:pt idx="205">
                  <c:v>71.750944</c:v>
                </c:pt>
                <c:pt idx="206">
                  <c:v>73.3912250000001</c:v>
                </c:pt>
                <c:pt idx="207">
                  <c:v>70.3667</c:v>
                </c:pt>
                <c:pt idx="208">
                  <c:v>73.846851</c:v>
                </c:pt>
                <c:pt idx="209">
                  <c:v>72.85506999999998</c:v>
                </c:pt>
                <c:pt idx="210">
                  <c:v>75.08926100000002</c:v>
                </c:pt>
                <c:pt idx="211">
                  <c:v>77.372263</c:v>
                </c:pt>
                <c:pt idx="212">
                  <c:v>76.45416500000007</c:v>
                </c:pt>
                <c:pt idx="213">
                  <c:v>75.94291500000007</c:v>
                </c:pt>
                <c:pt idx="214">
                  <c:v>74.5406590000001</c:v>
                </c:pt>
                <c:pt idx="215">
                  <c:v>72.73389199999998</c:v>
                </c:pt>
                <c:pt idx="216">
                  <c:v>74.13888399999995</c:v>
                </c:pt>
                <c:pt idx="217">
                  <c:v>73.01890199999998</c:v>
                </c:pt>
                <c:pt idx="218">
                  <c:v>73.713352</c:v>
                </c:pt>
                <c:pt idx="219">
                  <c:v>73.743775</c:v>
                </c:pt>
                <c:pt idx="220">
                  <c:v>75.9041590000001</c:v>
                </c:pt>
                <c:pt idx="221">
                  <c:v>77.367311</c:v>
                </c:pt>
                <c:pt idx="222">
                  <c:v>79.768894</c:v>
                </c:pt>
                <c:pt idx="223">
                  <c:v>78.39947899999976</c:v>
                </c:pt>
                <c:pt idx="224">
                  <c:v>78.733241</c:v>
                </c:pt>
                <c:pt idx="225">
                  <c:v>79.80258899999976</c:v>
                </c:pt>
                <c:pt idx="226">
                  <c:v>81.34156500000007</c:v>
                </c:pt>
                <c:pt idx="227">
                  <c:v>82.47803999999998</c:v>
                </c:pt>
                <c:pt idx="228">
                  <c:v>83.52809199999979</c:v>
                </c:pt>
                <c:pt idx="229">
                  <c:v>83.184089</c:v>
                </c:pt>
                <c:pt idx="230">
                  <c:v>83.420561</c:v>
                </c:pt>
                <c:pt idx="231">
                  <c:v>83.88379999999998</c:v>
                </c:pt>
                <c:pt idx="232">
                  <c:v>84.97380199999998</c:v>
                </c:pt>
                <c:pt idx="233">
                  <c:v>86.17924099999995</c:v>
                </c:pt>
                <c:pt idx="234">
                  <c:v>83.03555</c:v>
                </c:pt>
                <c:pt idx="235">
                  <c:v>68.951576</c:v>
                </c:pt>
                <c:pt idx="236">
                  <c:v>66.30844099999989</c:v>
                </c:pt>
                <c:pt idx="237">
                  <c:v>67.54692700000002</c:v>
                </c:pt>
                <c:pt idx="238">
                  <c:v>67.41803299999998</c:v>
                </c:pt>
                <c:pt idx="239">
                  <c:v>67.59818</c:v>
                </c:pt>
                <c:pt idx="240">
                  <c:v>65.37148099999992</c:v>
                </c:pt>
                <c:pt idx="241">
                  <c:v>65.12815699999979</c:v>
                </c:pt>
                <c:pt idx="242">
                  <c:v>66.515281</c:v>
                </c:pt>
                <c:pt idx="243">
                  <c:v>67.46556000000002</c:v>
                </c:pt>
                <c:pt idx="244">
                  <c:v>68.45097099999998</c:v>
                </c:pt>
                <c:pt idx="245">
                  <c:v>68.902966</c:v>
                </c:pt>
                <c:pt idx="246">
                  <c:v>68.593281</c:v>
                </c:pt>
                <c:pt idx="247">
                  <c:v>69.05201699999998</c:v>
                </c:pt>
                <c:pt idx="248">
                  <c:v>68.538999</c:v>
                </c:pt>
                <c:pt idx="249">
                  <c:v>67.000674</c:v>
                </c:pt>
                <c:pt idx="250">
                  <c:v>67.24438400000002</c:v>
                </c:pt>
                <c:pt idx="251">
                  <c:v>66.58406400000002</c:v>
                </c:pt>
                <c:pt idx="252">
                  <c:v>65.97601899999998</c:v>
                </c:pt>
                <c:pt idx="253">
                  <c:v>67.53432500000002</c:v>
                </c:pt>
                <c:pt idx="254">
                  <c:v>65.760715</c:v>
                </c:pt>
                <c:pt idx="255">
                  <c:v>65.7449210000001</c:v>
                </c:pt>
                <c:pt idx="256">
                  <c:v>63.609884</c:v>
                </c:pt>
                <c:pt idx="257">
                  <c:v>60.724234</c:v>
                </c:pt>
                <c:pt idx="258">
                  <c:v>61.195286</c:v>
                </c:pt>
                <c:pt idx="259">
                  <c:v>59.10901200000003</c:v>
                </c:pt>
                <c:pt idx="260">
                  <c:v>56.00037200000001</c:v>
                </c:pt>
                <c:pt idx="261">
                  <c:v>59.637823</c:v>
                </c:pt>
                <c:pt idx="262">
                  <c:v>57.72992300000004</c:v>
                </c:pt>
                <c:pt idx="263">
                  <c:v>57.936284</c:v>
                </c:pt>
                <c:pt idx="264">
                  <c:v>59.026805</c:v>
                </c:pt>
                <c:pt idx="265">
                  <c:v>61.59818200000003</c:v>
                </c:pt>
                <c:pt idx="266">
                  <c:v>63.407689</c:v>
                </c:pt>
                <c:pt idx="267">
                  <c:v>64.81162700000008</c:v>
                </c:pt>
                <c:pt idx="268">
                  <c:v>63.336502</c:v>
                </c:pt>
                <c:pt idx="269">
                  <c:v>62.845435</c:v>
                </c:pt>
                <c:pt idx="270">
                  <c:v>61.447972</c:v>
                </c:pt>
                <c:pt idx="271">
                  <c:v>60.860134</c:v>
                </c:pt>
                <c:pt idx="272">
                  <c:v>60.249571</c:v>
                </c:pt>
                <c:pt idx="273">
                  <c:v>58.79981200000004</c:v>
                </c:pt>
                <c:pt idx="274">
                  <c:v>59.417584</c:v>
                </c:pt>
                <c:pt idx="275">
                  <c:v>60.11555200000003</c:v>
                </c:pt>
                <c:pt idx="276">
                  <c:v>59.398284</c:v>
                </c:pt>
                <c:pt idx="277">
                  <c:v>59.497526</c:v>
                </c:pt>
                <c:pt idx="278">
                  <c:v>58.091286</c:v>
                </c:pt>
                <c:pt idx="279">
                  <c:v>57.818969</c:v>
                </c:pt>
                <c:pt idx="280">
                  <c:v>57.589497</c:v>
                </c:pt>
                <c:pt idx="281">
                  <c:v>60.12099100000001</c:v>
                </c:pt>
                <c:pt idx="282">
                  <c:v>60.040103</c:v>
                </c:pt>
                <c:pt idx="283">
                  <c:v>58.471919</c:v>
                </c:pt>
                <c:pt idx="284">
                  <c:v>59.003613</c:v>
                </c:pt>
                <c:pt idx="285">
                  <c:v>60.26043100000001</c:v>
                </c:pt>
                <c:pt idx="286">
                  <c:v>61.40566</c:v>
                </c:pt>
                <c:pt idx="287">
                  <c:v>64.25390799999998</c:v>
                </c:pt>
                <c:pt idx="288">
                  <c:v>65.86826300000002</c:v>
                </c:pt>
                <c:pt idx="289">
                  <c:v>63.888627</c:v>
                </c:pt>
                <c:pt idx="290">
                  <c:v>63.22349200000003</c:v>
                </c:pt>
                <c:pt idx="291">
                  <c:v>64.044838</c:v>
                </c:pt>
                <c:pt idx="292">
                  <c:v>64.57979199999976</c:v>
                </c:pt>
                <c:pt idx="293">
                  <c:v>62.62843300000003</c:v>
                </c:pt>
                <c:pt idx="294">
                  <c:v>69.25742100000002</c:v>
                </c:pt>
                <c:pt idx="295">
                  <c:v>69.63898599999989</c:v>
                </c:pt>
                <c:pt idx="296">
                  <c:v>67.32532899999973</c:v>
                </c:pt>
                <c:pt idx="297">
                  <c:v>67.336062</c:v>
                </c:pt>
                <c:pt idx="298">
                  <c:v>67.06073</c:v>
                </c:pt>
                <c:pt idx="299">
                  <c:v>67.65663899999976</c:v>
                </c:pt>
                <c:pt idx="300">
                  <c:v>67.35874099999967</c:v>
                </c:pt>
                <c:pt idx="301">
                  <c:v>67.80906899999998</c:v>
                </c:pt>
                <c:pt idx="302">
                  <c:v>66.16613699999998</c:v>
                </c:pt>
                <c:pt idx="303">
                  <c:v>65.770713</c:v>
                </c:pt>
                <c:pt idx="304">
                  <c:v>65.511902</c:v>
                </c:pt>
                <c:pt idx="305">
                  <c:v>65.253091</c:v>
                </c:pt>
                <c:pt idx="306">
                  <c:v>65.21529300000008</c:v>
                </c:pt>
                <c:pt idx="307">
                  <c:v>64.56517499999998</c:v>
                </c:pt>
                <c:pt idx="308">
                  <c:v>63.471378</c:v>
                </c:pt>
                <c:pt idx="309">
                  <c:v>65.12032499999998</c:v>
                </c:pt>
                <c:pt idx="310">
                  <c:v>66.38082199999998</c:v>
                </c:pt>
                <c:pt idx="311">
                  <c:v>66.08966300000008</c:v>
                </c:pt>
                <c:pt idx="312">
                  <c:v>66.390406</c:v>
                </c:pt>
                <c:pt idx="313">
                  <c:v>65.313439</c:v>
                </c:pt>
                <c:pt idx="314">
                  <c:v>63.89127300000001</c:v>
                </c:pt>
                <c:pt idx="315">
                  <c:v>63.684812</c:v>
                </c:pt>
                <c:pt idx="316">
                  <c:v>61.913785</c:v>
                </c:pt>
                <c:pt idx="317">
                  <c:v>61.27265900000001</c:v>
                </c:pt>
                <c:pt idx="318">
                  <c:v>61.849547</c:v>
                </c:pt>
                <c:pt idx="319">
                  <c:v>63.958724</c:v>
                </c:pt>
                <c:pt idx="320">
                  <c:v>64.80557399999998</c:v>
                </c:pt>
                <c:pt idx="321">
                  <c:v>63.286746</c:v>
                </c:pt>
                <c:pt idx="322">
                  <c:v>63.91810700000001</c:v>
                </c:pt>
                <c:pt idx="323">
                  <c:v>65.5946430000001</c:v>
                </c:pt>
                <c:pt idx="324">
                  <c:v>67.89890599999998</c:v>
                </c:pt>
                <c:pt idx="325">
                  <c:v>66.24346500000007</c:v>
                </c:pt>
                <c:pt idx="326">
                  <c:v>67.85447099999992</c:v>
                </c:pt>
                <c:pt idx="327">
                  <c:v>67.024956</c:v>
                </c:pt>
                <c:pt idx="328">
                  <c:v>65.717741</c:v>
                </c:pt>
                <c:pt idx="329">
                  <c:v>66.891197</c:v>
                </c:pt>
                <c:pt idx="330">
                  <c:v>69.10314799999995</c:v>
                </c:pt>
                <c:pt idx="331">
                  <c:v>71.4150230000001</c:v>
                </c:pt>
                <c:pt idx="332">
                  <c:v>70.373213</c:v>
                </c:pt>
                <c:pt idx="333">
                  <c:v>70.31160400000007</c:v>
                </c:pt>
                <c:pt idx="334">
                  <c:v>71.23418900000007</c:v>
                </c:pt>
                <c:pt idx="335">
                  <c:v>70.85807299999958</c:v>
                </c:pt>
                <c:pt idx="336">
                  <c:v>69.553554</c:v>
                </c:pt>
                <c:pt idx="337">
                  <c:v>68.637703</c:v>
                </c:pt>
                <c:pt idx="338">
                  <c:v>70.160296</c:v>
                </c:pt>
                <c:pt idx="339">
                  <c:v>69.35982799999998</c:v>
                </c:pt>
                <c:pt idx="340">
                  <c:v>70.71042400000007</c:v>
                </c:pt>
                <c:pt idx="341">
                  <c:v>70.373563</c:v>
                </c:pt>
                <c:pt idx="342">
                  <c:v>71.027676</c:v>
                </c:pt>
                <c:pt idx="343">
                  <c:v>71.05339899999976</c:v>
                </c:pt>
                <c:pt idx="344">
                  <c:v>70.04465200000007</c:v>
                </c:pt>
                <c:pt idx="345">
                  <c:v>69.62148499999998</c:v>
                </c:pt>
                <c:pt idx="346">
                  <c:v>73.35989899999976</c:v>
                </c:pt>
                <c:pt idx="347">
                  <c:v>73.55694199999998</c:v>
                </c:pt>
                <c:pt idx="348">
                  <c:v>75.31528</c:v>
                </c:pt>
                <c:pt idx="349">
                  <c:v>75.63254199999979</c:v>
                </c:pt>
                <c:pt idx="350">
                  <c:v>75.52605699999998</c:v>
                </c:pt>
                <c:pt idx="351">
                  <c:v>75.51619500000002</c:v>
                </c:pt>
                <c:pt idx="352">
                  <c:v>75.08377699999976</c:v>
                </c:pt>
                <c:pt idx="353">
                  <c:v>74.56887999999998</c:v>
                </c:pt>
                <c:pt idx="354">
                  <c:v>74.538454</c:v>
                </c:pt>
                <c:pt idx="355">
                  <c:v>72.95033499999998</c:v>
                </c:pt>
                <c:pt idx="356">
                  <c:v>73.66872599999998</c:v>
                </c:pt>
                <c:pt idx="357">
                  <c:v>75.415152</c:v>
                </c:pt>
                <c:pt idx="358">
                  <c:v>73.891866</c:v>
                </c:pt>
                <c:pt idx="359">
                  <c:v>73.63003599999992</c:v>
                </c:pt>
                <c:pt idx="360">
                  <c:v>74.978128</c:v>
                </c:pt>
                <c:pt idx="361">
                  <c:v>75.782246</c:v>
                </c:pt>
                <c:pt idx="362">
                  <c:v>74.78670199999995</c:v>
                </c:pt>
                <c:pt idx="363">
                  <c:v>73.94850600000002</c:v>
                </c:pt>
                <c:pt idx="364">
                  <c:v>68.474812</c:v>
                </c:pt>
                <c:pt idx="365">
                  <c:v>67.62331799999976</c:v>
                </c:pt>
                <c:pt idx="366">
                  <c:v>70.28216899999998</c:v>
                </c:pt>
                <c:pt idx="367">
                  <c:v>69.889255</c:v>
                </c:pt>
                <c:pt idx="368">
                  <c:v>69.41129700000008</c:v>
                </c:pt>
                <c:pt idx="369">
                  <c:v>69.900498</c:v>
                </c:pt>
                <c:pt idx="370">
                  <c:v>70.59469200000002</c:v>
                </c:pt>
                <c:pt idx="371">
                  <c:v>72.171923</c:v>
                </c:pt>
                <c:pt idx="372">
                  <c:v>74.14104899999998</c:v>
                </c:pt>
                <c:pt idx="373">
                  <c:v>73.87</c:v>
                </c:pt>
                <c:pt idx="374">
                  <c:v>71.854043</c:v>
                </c:pt>
                <c:pt idx="375">
                  <c:v>70.947472</c:v>
                </c:pt>
                <c:pt idx="376">
                  <c:v>72.27345599999998</c:v>
                </c:pt>
                <c:pt idx="377">
                  <c:v>71.610127</c:v>
                </c:pt>
                <c:pt idx="378">
                  <c:v>71.38433899999974</c:v>
                </c:pt>
                <c:pt idx="379">
                  <c:v>70.368893</c:v>
                </c:pt>
                <c:pt idx="380">
                  <c:v>72.84086400000002</c:v>
                </c:pt>
                <c:pt idx="381">
                  <c:v>71.63722500000008</c:v>
                </c:pt>
                <c:pt idx="382">
                  <c:v>71.23679799999998</c:v>
                </c:pt>
                <c:pt idx="383">
                  <c:v>71.901401</c:v>
                </c:pt>
                <c:pt idx="384">
                  <c:v>71.492051</c:v>
                </c:pt>
                <c:pt idx="385">
                  <c:v>71.27060899999998</c:v>
                </c:pt>
                <c:pt idx="386">
                  <c:v>69.222504</c:v>
                </c:pt>
                <c:pt idx="387">
                  <c:v>68.60973499999976</c:v>
                </c:pt>
                <c:pt idx="388">
                  <c:v>67.938343</c:v>
                </c:pt>
                <c:pt idx="389">
                  <c:v>64.70476</c:v>
                </c:pt>
                <c:pt idx="390">
                  <c:v>66.67316099999998</c:v>
                </c:pt>
                <c:pt idx="391">
                  <c:v>67.93100100000002</c:v>
                </c:pt>
                <c:pt idx="392">
                  <c:v>68.233451</c:v>
                </c:pt>
                <c:pt idx="393">
                  <c:v>66.798107</c:v>
                </c:pt>
                <c:pt idx="394">
                  <c:v>66.084355</c:v>
                </c:pt>
                <c:pt idx="395">
                  <c:v>65.777821</c:v>
                </c:pt>
                <c:pt idx="396">
                  <c:v>65.7675140000001</c:v>
                </c:pt>
                <c:pt idx="397">
                  <c:v>64.41484300000008</c:v>
                </c:pt>
                <c:pt idx="398">
                  <c:v>61.944157</c:v>
                </c:pt>
                <c:pt idx="399">
                  <c:v>61.75023700000001</c:v>
                </c:pt>
                <c:pt idx="400">
                  <c:v>58.782657</c:v>
                </c:pt>
                <c:pt idx="401">
                  <c:v>59.395816</c:v>
                </c:pt>
                <c:pt idx="402">
                  <c:v>61.548694</c:v>
                </c:pt>
                <c:pt idx="403">
                  <c:v>60.62535600000006</c:v>
                </c:pt>
                <c:pt idx="404">
                  <c:v>60.66246700000001</c:v>
                </c:pt>
                <c:pt idx="405">
                  <c:v>59.548628</c:v>
                </c:pt>
                <c:pt idx="406">
                  <c:v>61.668427</c:v>
                </c:pt>
                <c:pt idx="407">
                  <c:v>61.551013</c:v>
                </c:pt>
                <c:pt idx="408">
                  <c:v>60.09885000000001</c:v>
                </c:pt>
                <c:pt idx="409">
                  <c:v>56.823774</c:v>
                </c:pt>
                <c:pt idx="410">
                  <c:v>57.931165</c:v>
                </c:pt>
                <c:pt idx="411">
                  <c:v>57.942934</c:v>
                </c:pt>
                <c:pt idx="412">
                  <c:v>59.04209</c:v>
                </c:pt>
                <c:pt idx="413">
                  <c:v>59.16538200000003</c:v>
                </c:pt>
                <c:pt idx="414">
                  <c:v>59.945264</c:v>
                </c:pt>
                <c:pt idx="415">
                  <c:v>62.654231</c:v>
                </c:pt>
                <c:pt idx="416">
                  <c:v>61.757232</c:v>
                </c:pt>
                <c:pt idx="417">
                  <c:v>61.71267500000001</c:v>
                </c:pt>
                <c:pt idx="418">
                  <c:v>60.596898</c:v>
                </c:pt>
                <c:pt idx="419">
                  <c:v>59.173862</c:v>
                </c:pt>
                <c:pt idx="420">
                  <c:v>59.29741900000001</c:v>
                </c:pt>
                <c:pt idx="421">
                  <c:v>59.36243500000001</c:v>
                </c:pt>
                <c:pt idx="422">
                  <c:v>58.436962</c:v>
                </c:pt>
                <c:pt idx="423">
                  <c:v>52.005</c:v>
                </c:pt>
                <c:pt idx="424">
                  <c:v>53.047011</c:v>
                </c:pt>
                <c:pt idx="425">
                  <c:v>49.86204900000001</c:v>
                </c:pt>
                <c:pt idx="426">
                  <c:v>49.326044</c:v>
                </c:pt>
                <c:pt idx="427">
                  <c:v>47.99511700000003</c:v>
                </c:pt>
                <c:pt idx="428">
                  <c:v>48.48513300000001</c:v>
                </c:pt>
                <c:pt idx="429">
                  <c:v>48.046764</c:v>
                </c:pt>
                <c:pt idx="430">
                  <c:v>49.45388899999999</c:v>
                </c:pt>
                <c:pt idx="431">
                  <c:v>49.463293</c:v>
                </c:pt>
                <c:pt idx="432">
                  <c:v>53.507072</c:v>
                </c:pt>
                <c:pt idx="433">
                  <c:v>53.806862</c:v>
                </c:pt>
                <c:pt idx="434">
                  <c:v>55.821851</c:v>
                </c:pt>
                <c:pt idx="435">
                  <c:v>54.92288300000001</c:v>
                </c:pt>
                <c:pt idx="436">
                  <c:v>55.717036</c:v>
                </c:pt>
                <c:pt idx="437">
                  <c:v>52.59610800000003</c:v>
                </c:pt>
                <c:pt idx="438">
                  <c:v>54.31525</c:v>
                </c:pt>
                <c:pt idx="439">
                  <c:v>54.907742</c:v>
                </c:pt>
                <c:pt idx="440">
                  <c:v>53.597777</c:v>
                </c:pt>
                <c:pt idx="441">
                  <c:v>54.70077200000003</c:v>
                </c:pt>
                <c:pt idx="442">
                  <c:v>55.50317500000001</c:v>
                </c:pt>
                <c:pt idx="443">
                  <c:v>55.43920900000001</c:v>
                </c:pt>
                <c:pt idx="444">
                  <c:v>53.310778</c:v>
                </c:pt>
                <c:pt idx="445">
                  <c:v>55.53947100000001</c:v>
                </c:pt>
                <c:pt idx="446">
                  <c:v>55.60054</c:v>
                </c:pt>
                <c:pt idx="447">
                  <c:v>57.36592</c:v>
                </c:pt>
                <c:pt idx="448">
                  <c:v>55.47195600000001</c:v>
                </c:pt>
                <c:pt idx="449">
                  <c:v>53.23910500000003</c:v>
                </c:pt>
                <c:pt idx="450">
                  <c:v>52.322256</c:v>
                </c:pt>
                <c:pt idx="451">
                  <c:v>53.470262</c:v>
                </c:pt>
                <c:pt idx="452">
                  <c:v>55.322879</c:v>
                </c:pt>
                <c:pt idx="453">
                  <c:v>55.819569</c:v>
                </c:pt>
                <c:pt idx="454">
                  <c:v>56.14671900000001</c:v>
                </c:pt>
                <c:pt idx="455">
                  <c:v>54.02507900000001</c:v>
                </c:pt>
                <c:pt idx="456">
                  <c:v>53.46734600000001</c:v>
                </c:pt>
                <c:pt idx="457">
                  <c:v>50.751412</c:v>
                </c:pt>
                <c:pt idx="458">
                  <c:v>50.276083</c:v>
                </c:pt>
                <c:pt idx="459">
                  <c:v>50.57237100000001</c:v>
                </c:pt>
                <c:pt idx="460">
                  <c:v>50.544159</c:v>
                </c:pt>
                <c:pt idx="461">
                  <c:v>48.56217900000003</c:v>
                </c:pt>
                <c:pt idx="462">
                  <c:v>47.732674</c:v>
                </c:pt>
                <c:pt idx="463">
                  <c:v>47.22905200000004</c:v>
                </c:pt>
                <c:pt idx="464">
                  <c:v>47.650376</c:v>
                </c:pt>
                <c:pt idx="465">
                  <c:v>46.907608</c:v>
                </c:pt>
                <c:pt idx="466">
                  <c:v>45.864162</c:v>
                </c:pt>
                <c:pt idx="467">
                  <c:v>45.813601</c:v>
                </c:pt>
                <c:pt idx="468">
                  <c:v>42.947091</c:v>
                </c:pt>
                <c:pt idx="469">
                  <c:v>44.258237</c:v>
                </c:pt>
                <c:pt idx="470">
                  <c:v>44.146967</c:v>
                </c:pt>
                <c:pt idx="471">
                  <c:v>44.63960100000001</c:v>
                </c:pt>
                <c:pt idx="472">
                  <c:v>44.478498</c:v>
                </c:pt>
                <c:pt idx="473">
                  <c:v>44.70610900000001</c:v>
                </c:pt>
                <c:pt idx="474">
                  <c:v>45.075611</c:v>
                </c:pt>
                <c:pt idx="475">
                  <c:v>44.24324600000001</c:v>
                </c:pt>
                <c:pt idx="476">
                  <c:v>44.13337200000003</c:v>
                </c:pt>
                <c:pt idx="477">
                  <c:v>45.302734</c:v>
                </c:pt>
                <c:pt idx="478">
                  <c:v>45.490845</c:v>
                </c:pt>
                <c:pt idx="479">
                  <c:v>46.405292</c:v>
                </c:pt>
                <c:pt idx="480">
                  <c:v>46.25810800000003</c:v>
                </c:pt>
                <c:pt idx="481">
                  <c:v>45.138686</c:v>
                </c:pt>
                <c:pt idx="482">
                  <c:v>46.824396</c:v>
                </c:pt>
                <c:pt idx="483">
                  <c:v>47.329277</c:v>
                </c:pt>
                <c:pt idx="484">
                  <c:v>47.464857</c:v>
                </c:pt>
                <c:pt idx="485">
                  <c:v>48.79735100000001</c:v>
                </c:pt>
                <c:pt idx="486">
                  <c:v>48.35004399999999</c:v>
                </c:pt>
                <c:pt idx="487">
                  <c:v>46.98573000000001</c:v>
                </c:pt>
                <c:pt idx="488">
                  <c:v>48.55424</c:v>
                </c:pt>
                <c:pt idx="489">
                  <c:v>48.52300200000001</c:v>
                </c:pt>
                <c:pt idx="490">
                  <c:v>50.03420300000001</c:v>
                </c:pt>
                <c:pt idx="491">
                  <c:v>48.98836900000001</c:v>
                </c:pt>
                <c:pt idx="492">
                  <c:v>49.739507</c:v>
                </c:pt>
                <c:pt idx="493">
                  <c:v>48.061477</c:v>
                </c:pt>
                <c:pt idx="494">
                  <c:v>48.081086</c:v>
                </c:pt>
                <c:pt idx="495">
                  <c:v>49.314258</c:v>
                </c:pt>
                <c:pt idx="496">
                  <c:v>49.015729</c:v>
                </c:pt>
                <c:pt idx="497">
                  <c:v>50.154644</c:v>
                </c:pt>
                <c:pt idx="498">
                  <c:v>49.22357200000005</c:v>
                </c:pt>
                <c:pt idx="499">
                  <c:v>48.786047</c:v>
                </c:pt>
                <c:pt idx="500">
                  <c:v>48.52694800000001</c:v>
                </c:pt>
                <c:pt idx="501">
                  <c:v>47.31537100000001</c:v>
                </c:pt>
                <c:pt idx="502">
                  <c:v>49.023247</c:v>
                </c:pt>
                <c:pt idx="503">
                  <c:v>49.21875000000003</c:v>
                </c:pt>
                <c:pt idx="504">
                  <c:v>49.000682</c:v>
                </c:pt>
                <c:pt idx="505">
                  <c:v>51.919113</c:v>
                </c:pt>
                <c:pt idx="506">
                  <c:v>54.971619</c:v>
                </c:pt>
                <c:pt idx="507">
                  <c:v>55.57815200000004</c:v>
                </c:pt>
                <c:pt idx="508">
                  <c:v>56.29171600000003</c:v>
                </c:pt>
                <c:pt idx="509">
                  <c:v>56.92277500000003</c:v>
                </c:pt>
                <c:pt idx="510">
                  <c:v>56.20193300000001</c:v>
                </c:pt>
                <c:pt idx="511">
                  <c:v>55.89779100000001</c:v>
                </c:pt>
                <c:pt idx="512">
                  <c:v>56.034824</c:v>
                </c:pt>
                <c:pt idx="513">
                  <c:v>57.00459</c:v>
                </c:pt>
                <c:pt idx="514">
                  <c:v>55.62218900000001</c:v>
                </c:pt>
                <c:pt idx="515">
                  <c:v>56.57330800000001</c:v>
                </c:pt>
                <c:pt idx="516">
                  <c:v>55.387996</c:v>
                </c:pt>
                <c:pt idx="517">
                  <c:v>58.39976100000001</c:v>
                </c:pt>
                <c:pt idx="518">
                  <c:v>58.960858</c:v>
                </c:pt>
                <c:pt idx="519">
                  <c:v>58.911038</c:v>
                </c:pt>
                <c:pt idx="520">
                  <c:v>57.810639</c:v>
                </c:pt>
                <c:pt idx="521">
                  <c:v>56.251221</c:v>
                </c:pt>
                <c:pt idx="522">
                  <c:v>56.101861</c:v>
                </c:pt>
                <c:pt idx="523">
                  <c:v>57.50343700000001</c:v>
                </c:pt>
                <c:pt idx="524">
                  <c:v>58.55953</c:v>
                </c:pt>
                <c:pt idx="525">
                  <c:v>59.267982</c:v>
                </c:pt>
                <c:pt idx="526">
                  <c:v>57.746754</c:v>
                </c:pt>
                <c:pt idx="527">
                  <c:v>59.57257300000001</c:v>
                </c:pt>
                <c:pt idx="528">
                  <c:v>60.160746</c:v>
                </c:pt>
                <c:pt idx="529">
                  <c:v>58.975868</c:v>
                </c:pt>
                <c:pt idx="530">
                  <c:v>58.695227</c:v>
                </c:pt>
                <c:pt idx="531">
                  <c:v>61.62314900000001</c:v>
                </c:pt>
                <c:pt idx="532">
                  <c:v>61.634295</c:v>
                </c:pt>
                <c:pt idx="533">
                  <c:v>62.66932300000001</c:v>
                </c:pt>
                <c:pt idx="534">
                  <c:v>62.537343</c:v>
                </c:pt>
                <c:pt idx="535">
                  <c:v>63.418753</c:v>
                </c:pt>
                <c:pt idx="536">
                  <c:v>62.21605</c:v>
                </c:pt>
                <c:pt idx="537">
                  <c:v>61.337554</c:v>
                </c:pt>
                <c:pt idx="538">
                  <c:v>61.237624</c:v>
                </c:pt>
                <c:pt idx="539">
                  <c:v>62.107557</c:v>
                </c:pt>
                <c:pt idx="540">
                  <c:v>60.963472</c:v>
                </c:pt>
                <c:pt idx="541">
                  <c:v>60.527101</c:v>
                </c:pt>
                <c:pt idx="542">
                  <c:v>59.26073500000004</c:v>
                </c:pt>
                <c:pt idx="543">
                  <c:v>59.248584</c:v>
                </c:pt>
                <c:pt idx="544">
                  <c:v>59.952583</c:v>
                </c:pt>
                <c:pt idx="545">
                  <c:v>58.326787</c:v>
                </c:pt>
                <c:pt idx="546">
                  <c:v>58.19575500000006</c:v>
                </c:pt>
                <c:pt idx="547">
                  <c:v>58.53514500000003</c:v>
                </c:pt>
                <c:pt idx="548">
                  <c:v>58.610092</c:v>
                </c:pt>
                <c:pt idx="549">
                  <c:v>58.499006</c:v>
                </c:pt>
                <c:pt idx="550">
                  <c:v>58.15</c:v>
                </c:pt>
                <c:pt idx="551">
                  <c:v>58.07031600000001</c:v>
                </c:pt>
                <c:pt idx="552">
                  <c:v>58.38528</c:v>
                </c:pt>
                <c:pt idx="553">
                  <c:v>59.084993</c:v>
                </c:pt>
                <c:pt idx="554">
                  <c:v>62.059948</c:v>
                </c:pt>
                <c:pt idx="555">
                  <c:v>61.32879000000001</c:v>
                </c:pt>
                <c:pt idx="556">
                  <c:v>61.62521400000003</c:v>
                </c:pt>
                <c:pt idx="557">
                  <c:v>62.11786</c:v>
                </c:pt>
                <c:pt idx="558">
                  <c:v>62.796807</c:v>
                </c:pt>
                <c:pt idx="559">
                  <c:v>63.58657100000001</c:v>
                </c:pt>
                <c:pt idx="560">
                  <c:v>64.02630299999976</c:v>
                </c:pt>
                <c:pt idx="561">
                  <c:v>64.769402</c:v>
                </c:pt>
                <c:pt idx="562">
                  <c:v>65.831897</c:v>
                </c:pt>
                <c:pt idx="563">
                  <c:v>65.40207799999992</c:v>
                </c:pt>
                <c:pt idx="564">
                  <c:v>63.46250600000001</c:v>
                </c:pt>
                <c:pt idx="565">
                  <c:v>62.135437</c:v>
                </c:pt>
                <c:pt idx="566">
                  <c:v>61.209068</c:v>
                </c:pt>
                <c:pt idx="567">
                  <c:v>62.783204</c:v>
                </c:pt>
                <c:pt idx="568">
                  <c:v>61.231231</c:v>
                </c:pt>
                <c:pt idx="569">
                  <c:v>61.974094</c:v>
                </c:pt>
                <c:pt idx="570">
                  <c:v>61.696787</c:v>
                </c:pt>
                <c:pt idx="571">
                  <c:v>60.214193</c:v>
                </c:pt>
                <c:pt idx="572">
                  <c:v>58.90164799999996</c:v>
                </c:pt>
                <c:pt idx="573">
                  <c:v>60.332494</c:v>
                </c:pt>
                <c:pt idx="574">
                  <c:v>61.09819000000004</c:v>
                </c:pt>
                <c:pt idx="575">
                  <c:v>62.72846600000001</c:v>
                </c:pt>
                <c:pt idx="576">
                  <c:v>63.617086</c:v>
                </c:pt>
                <c:pt idx="577">
                  <c:v>63.347179</c:v>
                </c:pt>
                <c:pt idx="578">
                  <c:v>63.84095300000001</c:v>
                </c:pt>
                <c:pt idx="579">
                  <c:v>63.52492</c:v>
                </c:pt>
                <c:pt idx="580">
                  <c:v>67.03517599999998</c:v>
                </c:pt>
                <c:pt idx="581">
                  <c:v>66.56562600000002</c:v>
                </c:pt>
                <c:pt idx="582">
                  <c:v>65.64429600000002</c:v>
                </c:pt>
                <c:pt idx="583">
                  <c:v>65.304057</c:v>
                </c:pt>
                <c:pt idx="584">
                  <c:v>68.184122</c:v>
                </c:pt>
                <c:pt idx="585">
                  <c:v>69.74098500000002</c:v>
                </c:pt>
                <c:pt idx="586">
                  <c:v>70.09764000000002</c:v>
                </c:pt>
                <c:pt idx="587">
                  <c:v>67.60377599999973</c:v>
                </c:pt>
                <c:pt idx="588">
                  <c:v>64.9425290000001</c:v>
                </c:pt>
                <c:pt idx="589">
                  <c:v>65.88366900000002</c:v>
                </c:pt>
                <c:pt idx="590">
                  <c:v>65.88823199999989</c:v>
                </c:pt>
                <c:pt idx="591">
                  <c:v>65.81512300000007</c:v>
                </c:pt>
                <c:pt idx="592">
                  <c:v>66.420361</c:v>
                </c:pt>
                <c:pt idx="593">
                  <c:v>65.86469300000008</c:v>
                </c:pt>
                <c:pt idx="594">
                  <c:v>68.32170699999992</c:v>
                </c:pt>
                <c:pt idx="595">
                  <c:v>66.4778</c:v>
                </c:pt>
                <c:pt idx="596">
                  <c:v>64.811767</c:v>
                </c:pt>
                <c:pt idx="597">
                  <c:v>64.84873399999998</c:v>
                </c:pt>
                <c:pt idx="598">
                  <c:v>64.69375099999998</c:v>
                </c:pt>
                <c:pt idx="599">
                  <c:v>62.69882000000001</c:v>
                </c:pt>
                <c:pt idx="600">
                  <c:v>63.12122100000001</c:v>
                </c:pt>
                <c:pt idx="601">
                  <c:v>62.243642</c:v>
                </c:pt>
                <c:pt idx="602">
                  <c:v>61.19205300000003</c:v>
                </c:pt>
                <c:pt idx="603">
                  <c:v>59.95764899999998</c:v>
                </c:pt>
                <c:pt idx="604">
                  <c:v>60.78153500000001</c:v>
                </c:pt>
                <c:pt idx="605">
                  <c:v>60.98180699999997</c:v>
                </c:pt>
                <c:pt idx="606">
                  <c:v>62.391238</c:v>
                </c:pt>
                <c:pt idx="607">
                  <c:v>62.55371400000001</c:v>
                </c:pt>
                <c:pt idx="608">
                  <c:v>62.12384</c:v>
                </c:pt>
                <c:pt idx="609">
                  <c:v>64.05289099999989</c:v>
                </c:pt>
                <c:pt idx="610">
                  <c:v>56.99397200000003</c:v>
                </c:pt>
                <c:pt idx="611">
                  <c:v>56.018044</c:v>
                </c:pt>
                <c:pt idx="612">
                  <c:v>57.035974</c:v>
                </c:pt>
                <c:pt idx="613">
                  <c:v>57.08552</c:v>
                </c:pt>
                <c:pt idx="614">
                  <c:v>56.450118</c:v>
                </c:pt>
                <c:pt idx="615">
                  <c:v>55.99917000000003</c:v>
                </c:pt>
                <c:pt idx="616">
                  <c:v>54.84037600000001</c:v>
                </c:pt>
                <c:pt idx="617">
                  <c:v>54.450207</c:v>
                </c:pt>
                <c:pt idx="618">
                  <c:v>55.859334</c:v>
                </c:pt>
                <c:pt idx="619">
                  <c:v>55.07653900000001</c:v>
                </c:pt>
                <c:pt idx="620">
                  <c:v>54.841071</c:v>
                </c:pt>
                <c:pt idx="621">
                  <c:v>54.787345</c:v>
                </c:pt>
                <c:pt idx="622">
                  <c:v>53.591447</c:v>
                </c:pt>
                <c:pt idx="623">
                  <c:v>54.812584</c:v>
                </c:pt>
                <c:pt idx="624">
                  <c:v>53.77182000000001</c:v>
                </c:pt>
                <c:pt idx="625">
                  <c:v>53.20852800000003</c:v>
                </c:pt>
                <c:pt idx="626">
                  <c:v>54.51919100000001</c:v>
                </c:pt>
                <c:pt idx="627">
                  <c:v>53.09041600000001</c:v>
                </c:pt>
                <c:pt idx="628">
                  <c:v>54.539729</c:v>
                </c:pt>
                <c:pt idx="629">
                  <c:v>53.88171</c:v>
                </c:pt>
                <c:pt idx="630">
                  <c:v>53.39054</c:v>
                </c:pt>
                <c:pt idx="631">
                  <c:v>55.316016</c:v>
                </c:pt>
                <c:pt idx="632">
                  <c:v>55.211386</c:v>
                </c:pt>
                <c:pt idx="633">
                  <c:v>56.722866</c:v>
                </c:pt>
                <c:pt idx="634">
                  <c:v>48.541338</c:v>
                </c:pt>
                <c:pt idx="635">
                  <c:v>48.255875</c:v>
                </c:pt>
                <c:pt idx="636">
                  <c:v>48.331755</c:v>
                </c:pt>
                <c:pt idx="637">
                  <c:v>47.359633</c:v>
                </c:pt>
                <c:pt idx="638">
                  <c:v>47.24230500000003</c:v>
                </c:pt>
                <c:pt idx="639">
                  <c:v>46.411832</c:v>
                </c:pt>
                <c:pt idx="640">
                  <c:v>44.866095</c:v>
                </c:pt>
                <c:pt idx="641">
                  <c:v>45.02236600000001</c:v>
                </c:pt>
                <c:pt idx="642">
                  <c:v>44.38871500000001</c:v>
                </c:pt>
                <c:pt idx="643">
                  <c:v>43.59531900000004</c:v>
                </c:pt>
                <c:pt idx="644">
                  <c:v>43.252167</c:v>
                </c:pt>
                <c:pt idx="645">
                  <c:v>42.97929300000001</c:v>
                </c:pt>
                <c:pt idx="646">
                  <c:v>43.473813</c:v>
                </c:pt>
                <c:pt idx="647">
                  <c:v>45.30142799999996</c:v>
                </c:pt>
                <c:pt idx="648">
                  <c:v>44.19587600000001</c:v>
                </c:pt>
                <c:pt idx="649">
                  <c:v>43.585526</c:v>
                </c:pt>
                <c:pt idx="650">
                  <c:v>43.010533</c:v>
                </c:pt>
                <c:pt idx="651">
                  <c:v>43.250999</c:v>
                </c:pt>
                <c:pt idx="652">
                  <c:v>43.52701300000001</c:v>
                </c:pt>
                <c:pt idx="653">
                  <c:v>43.611794</c:v>
                </c:pt>
                <c:pt idx="654">
                  <c:v>44.25793200000001</c:v>
                </c:pt>
                <c:pt idx="655">
                  <c:v>42.68166799999997</c:v>
                </c:pt>
                <c:pt idx="656">
                  <c:v>40.38501100000001</c:v>
                </c:pt>
                <c:pt idx="657">
                  <c:v>40.24875100000001</c:v>
                </c:pt>
                <c:pt idx="658">
                  <c:v>38.932544</c:v>
                </c:pt>
                <c:pt idx="659">
                  <c:v>38.935431</c:v>
                </c:pt>
                <c:pt idx="660">
                  <c:v>37.858901</c:v>
                </c:pt>
                <c:pt idx="661">
                  <c:v>36.659525</c:v>
                </c:pt>
                <c:pt idx="662">
                  <c:v>37.578181</c:v>
                </c:pt>
                <c:pt idx="663">
                  <c:v>36.64825000000001</c:v>
                </c:pt>
                <c:pt idx="664">
                  <c:v>36.15715200000001</c:v>
                </c:pt>
                <c:pt idx="665">
                  <c:v>35.848472</c:v>
                </c:pt>
                <c:pt idx="666">
                  <c:v>35.40168499999996</c:v>
                </c:pt>
                <c:pt idx="667">
                  <c:v>34.95017300000001</c:v>
                </c:pt>
                <c:pt idx="668">
                  <c:v>27.79308199999999</c:v>
                </c:pt>
                <c:pt idx="669">
                  <c:v>25.947105</c:v>
                </c:pt>
                <c:pt idx="670">
                  <c:v>28.533224</c:v>
                </c:pt>
                <c:pt idx="671">
                  <c:v>28.40242799999998</c:v>
                </c:pt>
                <c:pt idx="672">
                  <c:v>29.69530199999999</c:v>
                </c:pt>
                <c:pt idx="673">
                  <c:v>28.68610899999999</c:v>
                </c:pt>
                <c:pt idx="674">
                  <c:v>28.18642399999998</c:v>
                </c:pt>
                <c:pt idx="675">
                  <c:v>28.208257</c:v>
                </c:pt>
                <c:pt idx="676">
                  <c:v>28.78068899999998</c:v>
                </c:pt>
                <c:pt idx="677">
                  <c:v>28.90616899999999</c:v>
                </c:pt>
                <c:pt idx="678">
                  <c:v>29.45462099999999</c:v>
                </c:pt>
                <c:pt idx="679">
                  <c:v>28.94873699999984</c:v>
                </c:pt>
                <c:pt idx="680">
                  <c:v>27.73866199999999</c:v>
                </c:pt>
                <c:pt idx="681">
                  <c:v>29.09489500000002</c:v>
                </c:pt>
                <c:pt idx="682">
                  <c:v>28.844159</c:v>
                </c:pt>
                <c:pt idx="683">
                  <c:v>28.13404999999999</c:v>
                </c:pt>
                <c:pt idx="684">
                  <c:v>28.41800899999999</c:v>
                </c:pt>
                <c:pt idx="685">
                  <c:v>28.17195300000003</c:v>
                </c:pt>
                <c:pt idx="686">
                  <c:v>27.30781300000002</c:v>
                </c:pt>
                <c:pt idx="687">
                  <c:v>27.48507399999998</c:v>
                </c:pt>
                <c:pt idx="688">
                  <c:v>26.64446299999999</c:v>
                </c:pt>
                <c:pt idx="689">
                  <c:v>26.747976</c:v>
                </c:pt>
                <c:pt idx="690">
                  <c:v>26.679341</c:v>
                </c:pt>
                <c:pt idx="691">
                  <c:v>27.897132</c:v>
                </c:pt>
                <c:pt idx="692">
                  <c:v>27.866091</c:v>
                </c:pt>
                <c:pt idx="693">
                  <c:v>26.65890600000003</c:v>
                </c:pt>
                <c:pt idx="694">
                  <c:v>27.40567999999998</c:v>
                </c:pt>
                <c:pt idx="695">
                  <c:v>25.72031699999998</c:v>
                </c:pt>
                <c:pt idx="696">
                  <c:v>25.54313399999996</c:v>
                </c:pt>
                <c:pt idx="697">
                  <c:v>25.05234499999998</c:v>
                </c:pt>
                <c:pt idx="698">
                  <c:v>24.18783800000002</c:v>
                </c:pt>
                <c:pt idx="699">
                  <c:v>25.34246599999999</c:v>
                </c:pt>
                <c:pt idx="700">
                  <c:v>23.75577199999999</c:v>
                </c:pt>
                <c:pt idx="701">
                  <c:v>23.291989</c:v>
                </c:pt>
                <c:pt idx="702">
                  <c:v>22.04811999999998</c:v>
                </c:pt>
                <c:pt idx="703">
                  <c:v>22.78506599999999</c:v>
                </c:pt>
                <c:pt idx="704">
                  <c:v>22.26023999999997</c:v>
                </c:pt>
                <c:pt idx="705">
                  <c:v>24.19745600000002</c:v>
                </c:pt>
                <c:pt idx="706">
                  <c:v>24.53039800000003</c:v>
                </c:pt>
                <c:pt idx="707">
                  <c:v>27.00863399999998</c:v>
                </c:pt>
                <c:pt idx="708">
                  <c:v>26.96263099999985</c:v>
                </c:pt>
                <c:pt idx="709">
                  <c:v>26.78899099999999</c:v>
                </c:pt>
                <c:pt idx="710">
                  <c:v>25.68520799999999</c:v>
                </c:pt>
                <c:pt idx="711">
                  <c:v>26.794404</c:v>
                </c:pt>
                <c:pt idx="712">
                  <c:v>26.572931</c:v>
                </c:pt>
                <c:pt idx="713">
                  <c:v>27.47119500000003</c:v>
                </c:pt>
                <c:pt idx="714">
                  <c:v>28.58733099999998</c:v>
                </c:pt>
                <c:pt idx="715">
                  <c:v>28.34061599999999</c:v>
                </c:pt>
                <c:pt idx="716">
                  <c:v>29.06693699999999</c:v>
                </c:pt>
                <c:pt idx="717">
                  <c:v>30.663803</c:v>
                </c:pt>
                <c:pt idx="718">
                  <c:v>32.581172</c:v>
                </c:pt>
                <c:pt idx="719">
                  <c:v>32.41915700000001</c:v>
                </c:pt>
                <c:pt idx="720">
                  <c:v>31.82237699999999</c:v>
                </c:pt>
                <c:pt idx="721">
                  <c:v>30.17232599999999</c:v>
                </c:pt>
                <c:pt idx="722">
                  <c:v>30.89882</c:v>
                </c:pt>
                <c:pt idx="723">
                  <c:v>31.86601899999999</c:v>
                </c:pt>
                <c:pt idx="724">
                  <c:v>31.451203</c:v>
                </c:pt>
                <c:pt idx="725">
                  <c:v>29.61476700000002</c:v>
                </c:pt>
                <c:pt idx="726">
                  <c:v>30.13671099999999</c:v>
                </c:pt>
                <c:pt idx="727">
                  <c:v>29.94857299999997</c:v>
                </c:pt>
                <c:pt idx="728">
                  <c:v>29.748815</c:v>
                </c:pt>
                <c:pt idx="729">
                  <c:v>29.76612299999998</c:v>
                </c:pt>
                <c:pt idx="730">
                  <c:v>23.87483500000002</c:v>
                </c:pt>
                <c:pt idx="731">
                  <c:v>23.66296699999999</c:v>
                </c:pt>
                <c:pt idx="732">
                  <c:v>22.784555</c:v>
                </c:pt>
                <c:pt idx="733">
                  <c:v>21.72040899999999</c:v>
                </c:pt>
                <c:pt idx="734">
                  <c:v>21.20124199999999</c:v>
                </c:pt>
                <c:pt idx="735">
                  <c:v>21.42300199999999</c:v>
                </c:pt>
                <c:pt idx="736">
                  <c:v>21.60541599999999</c:v>
                </c:pt>
                <c:pt idx="737">
                  <c:v>22.70943699999998</c:v>
                </c:pt>
                <c:pt idx="738">
                  <c:v>22.13002699999999</c:v>
                </c:pt>
                <c:pt idx="739">
                  <c:v>21.299079</c:v>
                </c:pt>
                <c:pt idx="740">
                  <c:v>20.56218699999998</c:v>
                </c:pt>
                <c:pt idx="741">
                  <c:v>20.681753</c:v>
                </c:pt>
                <c:pt idx="742">
                  <c:v>20.909862</c:v>
                </c:pt>
                <c:pt idx="743">
                  <c:v>23.36163299999998</c:v>
                </c:pt>
                <c:pt idx="744">
                  <c:v>24.35282800000002</c:v>
                </c:pt>
                <c:pt idx="745">
                  <c:v>23.56706399999999</c:v>
                </c:pt>
                <c:pt idx="746">
                  <c:v>24.374636</c:v>
                </c:pt>
                <c:pt idx="747">
                  <c:v>23.876045</c:v>
                </c:pt>
                <c:pt idx="748">
                  <c:v>23.54778899999999</c:v>
                </c:pt>
                <c:pt idx="749">
                  <c:v>23.91090100000002</c:v>
                </c:pt>
                <c:pt idx="750">
                  <c:v>22.55491000000002</c:v>
                </c:pt>
                <c:pt idx="751">
                  <c:v>23.11838500000002</c:v>
                </c:pt>
                <c:pt idx="752">
                  <c:v>22.52546199999999</c:v>
                </c:pt>
                <c:pt idx="753">
                  <c:v>22.11679500000002</c:v>
                </c:pt>
                <c:pt idx="754">
                  <c:v>22.794846</c:v>
                </c:pt>
                <c:pt idx="755">
                  <c:v>23.49950099999998</c:v>
                </c:pt>
                <c:pt idx="756">
                  <c:v>22.22878499999996</c:v>
                </c:pt>
                <c:pt idx="757">
                  <c:v>20.638214</c:v>
                </c:pt>
                <c:pt idx="758">
                  <c:v>21.20816199999999</c:v>
                </c:pt>
                <c:pt idx="759">
                  <c:v>21.28279899999996</c:v>
                </c:pt>
                <c:pt idx="760">
                  <c:v>20.24299599999999</c:v>
                </c:pt>
                <c:pt idx="761">
                  <c:v>19.291184</c:v>
                </c:pt>
                <c:pt idx="762">
                  <c:v>18.95256899999999</c:v>
                </c:pt>
                <c:pt idx="763">
                  <c:v>18.809335</c:v>
                </c:pt>
                <c:pt idx="764">
                  <c:v>18.962978</c:v>
                </c:pt>
                <c:pt idx="765">
                  <c:v>18.74754599999999</c:v>
                </c:pt>
                <c:pt idx="766">
                  <c:v>18.730284</c:v>
                </c:pt>
                <c:pt idx="767">
                  <c:v>18.08092699999998</c:v>
                </c:pt>
                <c:pt idx="768">
                  <c:v>17.49045699999999</c:v>
                </c:pt>
                <c:pt idx="769">
                  <c:v>18.44650599999999</c:v>
                </c:pt>
                <c:pt idx="770">
                  <c:v>18.306118</c:v>
                </c:pt>
                <c:pt idx="771">
                  <c:v>19.09135300000003</c:v>
                </c:pt>
                <c:pt idx="772">
                  <c:v>19.28312599999999</c:v>
                </c:pt>
                <c:pt idx="773">
                  <c:v>18.70545699999998</c:v>
                </c:pt>
                <c:pt idx="774">
                  <c:v>18.29529899999999</c:v>
                </c:pt>
                <c:pt idx="775">
                  <c:v>17.37288100000002</c:v>
                </c:pt>
                <c:pt idx="776">
                  <c:v>16.87873499999998</c:v>
                </c:pt>
                <c:pt idx="777">
                  <c:v>16.24534999999985</c:v>
                </c:pt>
                <c:pt idx="778">
                  <c:v>16.21673199999999</c:v>
                </c:pt>
                <c:pt idx="779">
                  <c:v>16.21776500000002</c:v>
                </c:pt>
                <c:pt idx="780">
                  <c:v>16.46819599999998</c:v>
                </c:pt>
                <c:pt idx="781">
                  <c:v>17.43056899999999</c:v>
                </c:pt>
                <c:pt idx="782">
                  <c:v>18.06565799999998</c:v>
                </c:pt>
                <c:pt idx="783">
                  <c:v>18.46289799999998</c:v>
                </c:pt>
                <c:pt idx="784">
                  <c:v>16.81102400000002</c:v>
                </c:pt>
                <c:pt idx="785">
                  <c:v>17.05778</c:v>
                </c:pt>
                <c:pt idx="786">
                  <c:v>16.96622599999998</c:v>
                </c:pt>
                <c:pt idx="787">
                  <c:v>16.620499</c:v>
                </c:pt>
                <c:pt idx="788">
                  <c:v>16.39697900000003</c:v>
                </c:pt>
                <c:pt idx="789">
                  <c:v>16.42332199999998</c:v>
                </c:pt>
                <c:pt idx="790">
                  <c:v>16.22490700000003</c:v>
                </c:pt>
                <c:pt idx="791">
                  <c:v>15.546708</c:v>
                </c:pt>
                <c:pt idx="792">
                  <c:v>15.067704</c:v>
                </c:pt>
                <c:pt idx="793">
                  <c:v>15.274555</c:v>
                </c:pt>
                <c:pt idx="794">
                  <c:v>13.47285200000001</c:v>
                </c:pt>
                <c:pt idx="795">
                  <c:v>12.90914400000001</c:v>
                </c:pt>
                <c:pt idx="796">
                  <c:v>12.546197</c:v>
                </c:pt>
                <c:pt idx="797">
                  <c:v>13.771989</c:v>
                </c:pt>
                <c:pt idx="798">
                  <c:v>14.021526</c:v>
                </c:pt>
                <c:pt idx="799">
                  <c:v>13.918839</c:v>
                </c:pt>
                <c:pt idx="800">
                  <c:v>14.31224900000001</c:v>
                </c:pt>
                <c:pt idx="801">
                  <c:v>14.345826</c:v>
                </c:pt>
                <c:pt idx="802">
                  <c:v>14.558332</c:v>
                </c:pt>
                <c:pt idx="803">
                  <c:v>15.55753600000001</c:v>
                </c:pt>
                <c:pt idx="804">
                  <c:v>15.063091</c:v>
                </c:pt>
                <c:pt idx="805">
                  <c:v>15.071583</c:v>
                </c:pt>
                <c:pt idx="806">
                  <c:v>15.413167</c:v>
                </c:pt>
                <c:pt idx="807">
                  <c:v>15.45940700000001</c:v>
                </c:pt>
                <c:pt idx="808">
                  <c:v>15.500295</c:v>
                </c:pt>
                <c:pt idx="809">
                  <c:v>15.604783</c:v>
                </c:pt>
                <c:pt idx="810">
                  <c:v>16.460905</c:v>
                </c:pt>
                <c:pt idx="811">
                  <c:v>16.167139</c:v>
                </c:pt>
                <c:pt idx="812">
                  <c:v>16.571653</c:v>
                </c:pt>
                <c:pt idx="813">
                  <c:v>17.52516299999999</c:v>
                </c:pt>
                <c:pt idx="814">
                  <c:v>17.24069899999999</c:v>
                </c:pt>
                <c:pt idx="815">
                  <c:v>17.63131800000002</c:v>
                </c:pt>
                <c:pt idx="816">
                  <c:v>17.00532599999999</c:v>
                </c:pt>
                <c:pt idx="817">
                  <c:v>15.55952700000001</c:v>
                </c:pt>
                <c:pt idx="818">
                  <c:v>15.018315</c:v>
                </c:pt>
                <c:pt idx="819">
                  <c:v>16.21194100000002</c:v>
                </c:pt>
                <c:pt idx="820">
                  <c:v>16.301192</c:v>
                </c:pt>
                <c:pt idx="821">
                  <c:v>16.77657899999999</c:v>
                </c:pt>
                <c:pt idx="822">
                  <c:v>16.98507499999996</c:v>
                </c:pt>
                <c:pt idx="823">
                  <c:v>16.64841199999999</c:v>
                </c:pt>
                <c:pt idx="824">
                  <c:v>16.73183000000002</c:v>
                </c:pt>
                <c:pt idx="825">
                  <c:v>17.197516</c:v>
                </c:pt>
                <c:pt idx="826">
                  <c:v>16.87619400000003</c:v>
                </c:pt>
                <c:pt idx="827">
                  <c:v>16.60305300000002</c:v>
                </c:pt>
                <c:pt idx="828">
                  <c:v>16.737033</c:v>
                </c:pt>
                <c:pt idx="829">
                  <c:v>16.44110299999996</c:v>
                </c:pt>
                <c:pt idx="830">
                  <c:v>15.934453</c:v>
                </c:pt>
                <c:pt idx="831">
                  <c:v>15.429142</c:v>
                </c:pt>
                <c:pt idx="832">
                  <c:v>14.911491</c:v>
                </c:pt>
                <c:pt idx="833">
                  <c:v>14.547091</c:v>
                </c:pt>
                <c:pt idx="834">
                  <c:v>14.833016</c:v>
                </c:pt>
                <c:pt idx="835">
                  <c:v>15.329198</c:v>
                </c:pt>
                <c:pt idx="836">
                  <c:v>15.051608</c:v>
                </c:pt>
                <c:pt idx="837">
                  <c:v>14.915172</c:v>
                </c:pt>
                <c:pt idx="838">
                  <c:v>14.624534</c:v>
                </c:pt>
                <c:pt idx="839">
                  <c:v>14.701314</c:v>
                </c:pt>
                <c:pt idx="840">
                  <c:v>14.752571</c:v>
                </c:pt>
                <c:pt idx="841">
                  <c:v>14.436891</c:v>
                </c:pt>
                <c:pt idx="842">
                  <c:v>14.487512</c:v>
                </c:pt>
                <c:pt idx="843">
                  <c:v>14.211049</c:v>
                </c:pt>
                <c:pt idx="844">
                  <c:v>13.548485</c:v>
                </c:pt>
                <c:pt idx="845">
                  <c:v>13.76058600000001</c:v>
                </c:pt>
                <c:pt idx="846">
                  <c:v>13.332394</c:v>
                </c:pt>
                <c:pt idx="847">
                  <c:v>13.145925</c:v>
                </c:pt>
                <c:pt idx="848">
                  <c:v>12.89348100000001</c:v>
                </c:pt>
                <c:pt idx="849">
                  <c:v>13.219724</c:v>
                </c:pt>
                <c:pt idx="850">
                  <c:v>13.599119</c:v>
                </c:pt>
                <c:pt idx="851">
                  <c:v>13.134719</c:v>
                </c:pt>
                <c:pt idx="852">
                  <c:v>13.499313</c:v>
                </c:pt>
                <c:pt idx="853">
                  <c:v>13.185351</c:v>
                </c:pt>
                <c:pt idx="854">
                  <c:v>13.482172</c:v>
                </c:pt>
                <c:pt idx="855">
                  <c:v>14.484275</c:v>
                </c:pt>
                <c:pt idx="856">
                  <c:v>14.42653500000001</c:v>
                </c:pt>
                <c:pt idx="857">
                  <c:v>14.109898</c:v>
                </c:pt>
                <c:pt idx="858">
                  <c:v>14.054991</c:v>
                </c:pt>
                <c:pt idx="859">
                  <c:v>13.75949400000001</c:v>
                </c:pt>
                <c:pt idx="860">
                  <c:v>13.67943900000001</c:v>
                </c:pt>
                <c:pt idx="861">
                  <c:v>14.009555</c:v>
                </c:pt>
                <c:pt idx="862">
                  <c:v>13.921207</c:v>
                </c:pt>
                <c:pt idx="863">
                  <c:v>13.703852</c:v>
                </c:pt>
                <c:pt idx="864">
                  <c:v>13.688494</c:v>
                </c:pt>
                <c:pt idx="865">
                  <c:v>14.65975900000001</c:v>
                </c:pt>
                <c:pt idx="866">
                  <c:v>14.35247700000001</c:v>
                </c:pt>
                <c:pt idx="867">
                  <c:v>13.033821</c:v>
                </c:pt>
                <c:pt idx="868">
                  <c:v>12.743583</c:v>
                </c:pt>
                <c:pt idx="869">
                  <c:v>12.724596</c:v>
                </c:pt>
                <c:pt idx="870">
                  <c:v>12.997937</c:v>
                </c:pt>
                <c:pt idx="871">
                  <c:v>12.986624</c:v>
                </c:pt>
                <c:pt idx="872">
                  <c:v>13.083106</c:v>
                </c:pt>
                <c:pt idx="873">
                  <c:v>13.35260900000002</c:v>
                </c:pt>
                <c:pt idx="874">
                  <c:v>12.88770900000001</c:v>
                </c:pt>
                <c:pt idx="875">
                  <c:v>13.186396</c:v>
                </c:pt>
                <c:pt idx="876">
                  <c:v>13.46903600000002</c:v>
                </c:pt>
                <c:pt idx="877">
                  <c:v>13.209319</c:v>
                </c:pt>
                <c:pt idx="878">
                  <c:v>13.50970400000001</c:v>
                </c:pt>
                <c:pt idx="879">
                  <c:v>13.378669</c:v>
                </c:pt>
                <c:pt idx="880">
                  <c:v>13.048505</c:v>
                </c:pt>
                <c:pt idx="881">
                  <c:v>13.237661</c:v>
                </c:pt>
                <c:pt idx="882">
                  <c:v>13.629624</c:v>
                </c:pt>
                <c:pt idx="883">
                  <c:v>14.133054</c:v>
                </c:pt>
                <c:pt idx="884">
                  <c:v>14.057228</c:v>
                </c:pt>
                <c:pt idx="885">
                  <c:v>14.287592</c:v>
                </c:pt>
                <c:pt idx="886">
                  <c:v>13.528348</c:v>
                </c:pt>
                <c:pt idx="887">
                  <c:v>12.759767</c:v>
                </c:pt>
                <c:pt idx="888">
                  <c:v>12.069193</c:v>
                </c:pt>
                <c:pt idx="889">
                  <c:v>12.024572</c:v>
                </c:pt>
                <c:pt idx="890">
                  <c:v>11.812251</c:v>
                </c:pt>
                <c:pt idx="891">
                  <c:v>11.987413</c:v>
                </c:pt>
                <c:pt idx="892">
                  <c:v>11.911531</c:v>
                </c:pt>
                <c:pt idx="893">
                  <c:v>11.780209</c:v>
                </c:pt>
                <c:pt idx="894">
                  <c:v>11.838181</c:v>
                </c:pt>
                <c:pt idx="895">
                  <c:v>11.828708</c:v>
                </c:pt>
                <c:pt idx="896">
                  <c:v>11.125928</c:v>
                </c:pt>
                <c:pt idx="897">
                  <c:v>11.050653</c:v>
                </c:pt>
                <c:pt idx="898">
                  <c:v>11.424579</c:v>
                </c:pt>
                <c:pt idx="899">
                  <c:v>10.981139</c:v>
                </c:pt>
                <c:pt idx="900">
                  <c:v>11.07257600000001</c:v>
                </c:pt>
                <c:pt idx="901">
                  <c:v>11.063325</c:v>
                </c:pt>
                <c:pt idx="902">
                  <c:v>10.701754</c:v>
                </c:pt>
                <c:pt idx="903">
                  <c:v>11.03188</c:v>
                </c:pt>
                <c:pt idx="904">
                  <c:v>11.107427</c:v>
                </c:pt>
                <c:pt idx="905">
                  <c:v>11.212799</c:v>
                </c:pt>
                <c:pt idx="906">
                  <c:v>10.358968</c:v>
                </c:pt>
                <c:pt idx="907">
                  <c:v>10.333771</c:v>
                </c:pt>
                <c:pt idx="908">
                  <c:v>10.274467</c:v>
                </c:pt>
                <c:pt idx="909">
                  <c:v>9.626736000000002</c:v>
                </c:pt>
                <c:pt idx="910">
                  <c:v>9.95665600000001</c:v>
                </c:pt>
                <c:pt idx="911">
                  <c:v>10.300271</c:v>
                </c:pt>
                <c:pt idx="912">
                  <c:v>10.773359</c:v>
                </c:pt>
                <c:pt idx="913">
                  <c:v>10.809031</c:v>
                </c:pt>
                <c:pt idx="914">
                  <c:v>10.38802</c:v>
                </c:pt>
                <c:pt idx="915">
                  <c:v>10.617159</c:v>
                </c:pt>
                <c:pt idx="916">
                  <c:v>10.712373</c:v>
                </c:pt>
                <c:pt idx="917">
                  <c:v>10.35445200000001</c:v>
                </c:pt>
                <c:pt idx="918">
                  <c:v>10.916198</c:v>
                </c:pt>
                <c:pt idx="919">
                  <c:v>10.591135</c:v>
                </c:pt>
                <c:pt idx="920">
                  <c:v>10.769488</c:v>
                </c:pt>
                <c:pt idx="921">
                  <c:v>10.292588</c:v>
                </c:pt>
                <c:pt idx="922">
                  <c:v>10.064989</c:v>
                </c:pt>
                <c:pt idx="923">
                  <c:v>9.852025000000004</c:v>
                </c:pt>
                <c:pt idx="924">
                  <c:v>9.085438000000014</c:v>
                </c:pt>
                <c:pt idx="925">
                  <c:v>8.919626000000002</c:v>
                </c:pt>
                <c:pt idx="926">
                  <c:v>9.198358999999998</c:v>
                </c:pt>
                <c:pt idx="927">
                  <c:v>9.154514</c:v>
                </c:pt>
                <c:pt idx="928">
                  <c:v>7.392083999999984</c:v>
                </c:pt>
                <c:pt idx="929">
                  <c:v>7.349382</c:v>
                </c:pt>
                <c:pt idx="930">
                  <c:v>7.340898</c:v>
                </c:pt>
                <c:pt idx="931">
                  <c:v>7.710306</c:v>
                </c:pt>
                <c:pt idx="932">
                  <c:v>8.058982</c:v>
                </c:pt>
                <c:pt idx="933">
                  <c:v>7.644585999999968</c:v>
                </c:pt>
                <c:pt idx="934">
                  <c:v>7.288972</c:v>
                </c:pt>
                <c:pt idx="935">
                  <c:v>7.421059000000001</c:v>
                </c:pt>
                <c:pt idx="936">
                  <c:v>7.392630999999985</c:v>
                </c:pt>
                <c:pt idx="937">
                  <c:v>7.240737</c:v>
                </c:pt>
                <c:pt idx="938">
                  <c:v>6.983913999999999</c:v>
                </c:pt>
                <c:pt idx="939">
                  <c:v>6.910536999999985</c:v>
                </c:pt>
                <c:pt idx="940">
                  <c:v>6.950554999999984</c:v>
                </c:pt>
                <c:pt idx="941">
                  <c:v>6.976767000000007</c:v>
                </c:pt>
                <c:pt idx="942">
                  <c:v>6.795992</c:v>
                </c:pt>
                <c:pt idx="943">
                  <c:v>6.853018999999985</c:v>
                </c:pt>
                <c:pt idx="944">
                  <c:v>6.944784999999996</c:v>
                </c:pt>
                <c:pt idx="945">
                  <c:v>6.802254</c:v>
                </c:pt>
                <c:pt idx="946">
                  <c:v>6.979300000000004</c:v>
                </c:pt>
                <c:pt idx="947">
                  <c:v>7.362292</c:v>
                </c:pt>
                <c:pt idx="948">
                  <c:v>7.225433999999995</c:v>
                </c:pt>
                <c:pt idx="949">
                  <c:v>7.17032</c:v>
                </c:pt>
                <c:pt idx="950">
                  <c:v>7.150846999999986</c:v>
                </c:pt>
                <c:pt idx="951">
                  <c:v>6.968641000000003</c:v>
                </c:pt>
                <c:pt idx="952">
                  <c:v>6.99090599999999</c:v>
                </c:pt>
                <c:pt idx="953">
                  <c:v>7.341216</c:v>
                </c:pt>
                <c:pt idx="954">
                  <c:v>7.606015999999982</c:v>
                </c:pt>
                <c:pt idx="955">
                  <c:v>7.784377</c:v>
                </c:pt>
                <c:pt idx="956">
                  <c:v>8.290636000000002</c:v>
                </c:pt>
                <c:pt idx="957">
                  <c:v>8.075072</c:v>
                </c:pt>
                <c:pt idx="958">
                  <c:v>7.541843000000004</c:v>
                </c:pt>
                <c:pt idx="959">
                  <c:v>7.505278000000001</c:v>
                </c:pt>
                <c:pt idx="960">
                  <c:v>7.52899299999999</c:v>
                </c:pt>
                <c:pt idx="961">
                  <c:v>7.472799000000004</c:v>
                </c:pt>
                <c:pt idx="962">
                  <c:v>7.338448000000001</c:v>
                </c:pt>
                <c:pt idx="963">
                  <c:v>7.185629000000001</c:v>
                </c:pt>
                <c:pt idx="964">
                  <c:v>7.058634</c:v>
                </c:pt>
                <c:pt idx="965">
                  <c:v>7.08855099999999</c:v>
                </c:pt>
                <c:pt idx="966">
                  <c:v>6.942552</c:v>
                </c:pt>
                <c:pt idx="967">
                  <c:v>7.084528999999995</c:v>
                </c:pt>
                <c:pt idx="968">
                  <c:v>7.036184999999985</c:v>
                </c:pt>
                <c:pt idx="969">
                  <c:v>6.910857</c:v>
                </c:pt>
                <c:pt idx="970">
                  <c:v>6.722773999999998</c:v>
                </c:pt>
                <c:pt idx="971">
                  <c:v>6.665245999999986</c:v>
                </c:pt>
                <c:pt idx="972">
                  <c:v>6.629228999999999</c:v>
                </c:pt>
                <c:pt idx="973">
                  <c:v>6.527836999999977</c:v>
                </c:pt>
                <c:pt idx="974">
                  <c:v>6.72691399999999</c:v>
                </c:pt>
                <c:pt idx="975">
                  <c:v>7.179603000000004</c:v>
                </c:pt>
                <c:pt idx="976">
                  <c:v>7.161151999999996</c:v>
                </c:pt>
                <c:pt idx="977">
                  <c:v>7.478501000000001</c:v>
                </c:pt>
                <c:pt idx="978">
                  <c:v>7.440659000000004</c:v>
                </c:pt>
                <c:pt idx="979">
                  <c:v>7.373376</c:v>
                </c:pt>
                <c:pt idx="980">
                  <c:v>7.575601000000003</c:v>
                </c:pt>
                <c:pt idx="981">
                  <c:v>7.267755999999983</c:v>
                </c:pt>
                <c:pt idx="982">
                  <c:v>7.433189000000001</c:v>
                </c:pt>
                <c:pt idx="983">
                  <c:v>7.206413</c:v>
                </c:pt>
                <c:pt idx="984">
                  <c:v>6.897609</c:v>
                </c:pt>
                <c:pt idx="985">
                  <c:v>6.403492000000004</c:v>
                </c:pt>
                <c:pt idx="986">
                  <c:v>6.30837499999999</c:v>
                </c:pt>
                <c:pt idx="987">
                  <c:v>6.65765299999999</c:v>
                </c:pt>
                <c:pt idx="988">
                  <c:v>6.991870000000001</c:v>
                </c:pt>
                <c:pt idx="989">
                  <c:v>7.074249000000004</c:v>
                </c:pt>
                <c:pt idx="990">
                  <c:v>7.63428499999998</c:v>
                </c:pt>
                <c:pt idx="991">
                  <c:v>7.841098000000002</c:v>
                </c:pt>
                <c:pt idx="992">
                  <c:v>8.294490000000001</c:v>
                </c:pt>
                <c:pt idx="993">
                  <c:v>8.076529</c:v>
                </c:pt>
                <c:pt idx="994">
                  <c:v>8.213740000000001</c:v>
                </c:pt>
                <c:pt idx="995">
                  <c:v>8.253967999999998</c:v>
                </c:pt>
                <c:pt idx="996">
                  <c:v>7.771228000000007</c:v>
                </c:pt>
                <c:pt idx="997">
                  <c:v>7.776415</c:v>
                </c:pt>
                <c:pt idx="998">
                  <c:v>7.906634</c:v>
                </c:pt>
                <c:pt idx="999">
                  <c:v>7.809629000000004</c:v>
                </c:pt>
                <c:pt idx="1000">
                  <c:v>7.809071</c:v>
                </c:pt>
                <c:pt idx="1001">
                  <c:v>7.835574999999983</c:v>
                </c:pt>
                <c:pt idx="1002">
                  <c:v>7.953015999999995</c:v>
                </c:pt>
                <c:pt idx="1003">
                  <c:v>7.903126</c:v>
                </c:pt>
                <c:pt idx="1004">
                  <c:v>7.749594</c:v>
                </c:pt>
                <c:pt idx="1005">
                  <c:v>7.693778</c:v>
                </c:pt>
                <c:pt idx="1006">
                  <c:v>7.64211899999998</c:v>
                </c:pt>
                <c:pt idx="1007">
                  <c:v>7.546028000000002</c:v>
                </c:pt>
                <c:pt idx="1008">
                  <c:v>7.703060000000003</c:v>
                </c:pt>
                <c:pt idx="1009">
                  <c:v>7.550082999999995</c:v>
                </c:pt>
                <c:pt idx="1010">
                  <c:v>7.595063000000002</c:v>
                </c:pt>
                <c:pt idx="1011">
                  <c:v>7.604486999999974</c:v>
                </c:pt>
                <c:pt idx="1012">
                  <c:v>7.874959999999985</c:v>
                </c:pt>
                <c:pt idx="1013">
                  <c:v>8.707253999999998</c:v>
                </c:pt>
                <c:pt idx="1014">
                  <c:v>8.763026</c:v>
                </c:pt>
                <c:pt idx="1015">
                  <c:v>8.902315000000001</c:v>
                </c:pt>
                <c:pt idx="1016">
                  <c:v>9.017522</c:v>
                </c:pt>
                <c:pt idx="1017">
                  <c:v>8.252943</c:v>
                </c:pt>
                <c:pt idx="1018">
                  <c:v>8.221756999999998</c:v>
                </c:pt>
                <c:pt idx="1019">
                  <c:v>8.546069999999998</c:v>
                </c:pt>
                <c:pt idx="1020">
                  <c:v>8.806565000000002</c:v>
                </c:pt>
                <c:pt idx="1021">
                  <c:v>8.38448900000001</c:v>
                </c:pt>
                <c:pt idx="1022">
                  <c:v>8.490557</c:v>
                </c:pt>
                <c:pt idx="1023">
                  <c:v>8.775779</c:v>
                </c:pt>
                <c:pt idx="1024">
                  <c:v>9.182618000000001</c:v>
                </c:pt>
                <c:pt idx="1025">
                  <c:v>9.626194000000001</c:v>
                </c:pt>
                <c:pt idx="1026">
                  <c:v>9.726944</c:v>
                </c:pt>
                <c:pt idx="1027">
                  <c:v>10.252658</c:v>
                </c:pt>
                <c:pt idx="1028">
                  <c:v>12.03466</c:v>
                </c:pt>
                <c:pt idx="1029">
                  <c:v>11.703157</c:v>
                </c:pt>
                <c:pt idx="1030">
                  <c:v>11.95775600000001</c:v>
                </c:pt>
                <c:pt idx="1031">
                  <c:v>10.758526</c:v>
                </c:pt>
                <c:pt idx="1032">
                  <c:v>11.082118</c:v>
                </c:pt>
                <c:pt idx="1033">
                  <c:v>11.572114</c:v>
                </c:pt>
                <c:pt idx="1034">
                  <c:v>11.66712</c:v>
                </c:pt>
                <c:pt idx="1035">
                  <c:v>11.620654</c:v>
                </c:pt>
                <c:pt idx="1036">
                  <c:v>11.57570500000001</c:v>
                </c:pt>
                <c:pt idx="1037">
                  <c:v>11.929351</c:v>
                </c:pt>
                <c:pt idx="1038">
                  <c:v>11.928088</c:v>
                </c:pt>
                <c:pt idx="1039">
                  <c:v>12.012376</c:v>
                </c:pt>
                <c:pt idx="1040">
                  <c:v>11.89173900000001</c:v>
                </c:pt>
                <c:pt idx="1041">
                  <c:v>12.589965</c:v>
                </c:pt>
                <c:pt idx="1042">
                  <c:v>13.33360400000001</c:v>
                </c:pt>
                <c:pt idx="1043">
                  <c:v>13.841779</c:v>
                </c:pt>
                <c:pt idx="1044">
                  <c:v>14.07608000000001</c:v>
                </c:pt>
                <c:pt idx="1045">
                  <c:v>13.87393600000001</c:v>
                </c:pt>
                <c:pt idx="1046">
                  <c:v>13.673045</c:v>
                </c:pt>
                <c:pt idx="1047">
                  <c:v>13.670588</c:v>
                </c:pt>
                <c:pt idx="1048">
                  <c:v>14.111292</c:v>
                </c:pt>
                <c:pt idx="1049">
                  <c:v>10.91940200000001</c:v>
                </c:pt>
                <c:pt idx="1050">
                  <c:v>10.587346</c:v>
                </c:pt>
                <c:pt idx="1051">
                  <c:v>11.764233</c:v>
                </c:pt>
                <c:pt idx="1052">
                  <c:v>11.806079</c:v>
                </c:pt>
                <c:pt idx="1053">
                  <c:v>11.838475</c:v>
                </c:pt>
                <c:pt idx="1054">
                  <c:v>11.73892299999999</c:v>
                </c:pt>
                <c:pt idx="1055">
                  <c:v>11.524949</c:v>
                </c:pt>
                <c:pt idx="1056">
                  <c:v>12.021304</c:v>
                </c:pt>
                <c:pt idx="1057">
                  <c:v>11.928913</c:v>
                </c:pt>
                <c:pt idx="1058">
                  <c:v>11.931047</c:v>
                </c:pt>
                <c:pt idx="1059">
                  <c:v>11.548397</c:v>
                </c:pt>
                <c:pt idx="1060">
                  <c:v>11.95704000000001</c:v>
                </c:pt>
                <c:pt idx="1061">
                  <c:v>13.525048</c:v>
                </c:pt>
                <c:pt idx="1062">
                  <c:v>14.92279700000001</c:v>
                </c:pt>
                <c:pt idx="1063">
                  <c:v>14.49245900000001</c:v>
                </c:pt>
                <c:pt idx="1064">
                  <c:v>14.767076</c:v>
                </c:pt>
                <c:pt idx="1065">
                  <c:v>14.897201</c:v>
                </c:pt>
                <c:pt idx="1066">
                  <c:v>15.80976</c:v>
                </c:pt>
                <c:pt idx="1067">
                  <c:v>17.52390500000002</c:v>
                </c:pt>
                <c:pt idx="1068">
                  <c:v>17.858401</c:v>
                </c:pt>
                <c:pt idx="1069">
                  <c:v>17.310559</c:v>
                </c:pt>
                <c:pt idx="1070">
                  <c:v>17.74906</c:v>
                </c:pt>
                <c:pt idx="1071">
                  <c:v>17.449465</c:v>
                </c:pt>
                <c:pt idx="1072">
                  <c:v>16.129672</c:v>
                </c:pt>
                <c:pt idx="1073">
                  <c:v>15.65068400000001</c:v>
                </c:pt>
                <c:pt idx="1074">
                  <c:v>13.82585</c:v>
                </c:pt>
                <c:pt idx="1075">
                  <c:v>12.923102</c:v>
                </c:pt>
                <c:pt idx="1076">
                  <c:v>13.015076</c:v>
                </c:pt>
                <c:pt idx="1077">
                  <c:v>15.007559</c:v>
                </c:pt>
                <c:pt idx="1078">
                  <c:v>15.973865</c:v>
                </c:pt>
                <c:pt idx="1079">
                  <c:v>16.054493</c:v>
                </c:pt>
                <c:pt idx="1080">
                  <c:v>16.93387700000002</c:v>
                </c:pt>
                <c:pt idx="1081">
                  <c:v>16.47474399999998</c:v>
                </c:pt>
                <c:pt idx="1082">
                  <c:v>15.65651</c:v>
                </c:pt>
                <c:pt idx="1083">
                  <c:v>15.202113</c:v>
                </c:pt>
                <c:pt idx="1084">
                  <c:v>13.964112</c:v>
                </c:pt>
                <c:pt idx="1085">
                  <c:v>15.036317</c:v>
                </c:pt>
                <c:pt idx="1086">
                  <c:v>14.137821</c:v>
                </c:pt>
                <c:pt idx="1087">
                  <c:v>14.396095</c:v>
                </c:pt>
                <c:pt idx="1088">
                  <c:v>13.720862</c:v>
                </c:pt>
                <c:pt idx="1089">
                  <c:v>13.867216</c:v>
                </c:pt>
                <c:pt idx="1090">
                  <c:v>13.171008</c:v>
                </c:pt>
                <c:pt idx="1091">
                  <c:v>13.135457</c:v>
                </c:pt>
                <c:pt idx="1092">
                  <c:v>13.082314</c:v>
                </c:pt>
                <c:pt idx="1093">
                  <c:v>13.244646</c:v>
                </c:pt>
                <c:pt idx="1094">
                  <c:v>13.595122</c:v>
                </c:pt>
                <c:pt idx="1095">
                  <c:v>13.238794</c:v>
                </c:pt>
                <c:pt idx="1096">
                  <c:v>12.761866</c:v>
                </c:pt>
                <c:pt idx="1097">
                  <c:v>12.540221</c:v>
                </c:pt>
                <c:pt idx="1098">
                  <c:v>13.436296</c:v>
                </c:pt>
                <c:pt idx="1099">
                  <c:v>13.17041</c:v>
                </c:pt>
                <c:pt idx="1100">
                  <c:v>13.071832</c:v>
                </c:pt>
                <c:pt idx="1101">
                  <c:v>14.894985</c:v>
                </c:pt>
                <c:pt idx="1102">
                  <c:v>14.45278200000002</c:v>
                </c:pt>
                <c:pt idx="1103">
                  <c:v>15.614201</c:v>
                </c:pt>
                <c:pt idx="1104">
                  <c:v>15.117926</c:v>
                </c:pt>
                <c:pt idx="1105">
                  <c:v>15.103814</c:v>
                </c:pt>
                <c:pt idx="1106">
                  <c:v>15.128519</c:v>
                </c:pt>
                <c:pt idx="1107">
                  <c:v>15.00803</c:v>
                </c:pt>
                <c:pt idx="1108">
                  <c:v>16.11221</c:v>
                </c:pt>
                <c:pt idx="1109">
                  <c:v>16.134546</c:v>
                </c:pt>
                <c:pt idx="1110">
                  <c:v>14.857053</c:v>
                </c:pt>
                <c:pt idx="1111">
                  <c:v>14.192791</c:v>
                </c:pt>
                <c:pt idx="1112">
                  <c:v>14.424353</c:v>
                </c:pt>
                <c:pt idx="1113">
                  <c:v>14.558332</c:v>
                </c:pt>
                <c:pt idx="1114">
                  <c:v>14.84418</c:v>
                </c:pt>
                <c:pt idx="1115">
                  <c:v>15.102322</c:v>
                </c:pt>
                <c:pt idx="1116">
                  <c:v>15.104521</c:v>
                </c:pt>
                <c:pt idx="1117">
                  <c:v>15.005031</c:v>
                </c:pt>
                <c:pt idx="1118">
                  <c:v>14.97233400000001</c:v>
                </c:pt>
                <c:pt idx="1119">
                  <c:v>14.63764</c:v>
                </c:pt>
                <c:pt idx="1120">
                  <c:v>14.611568</c:v>
                </c:pt>
                <c:pt idx="1121">
                  <c:v>14.85635600000001</c:v>
                </c:pt>
                <c:pt idx="1122">
                  <c:v>14.710809</c:v>
                </c:pt>
                <c:pt idx="1123">
                  <c:v>13.669904</c:v>
                </c:pt>
                <c:pt idx="1124">
                  <c:v>13.66578500000001</c:v>
                </c:pt>
                <c:pt idx="1125">
                  <c:v>13.726278</c:v>
                </c:pt>
                <c:pt idx="1126">
                  <c:v>13.89269100000001</c:v>
                </c:pt>
                <c:pt idx="1127">
                  <c:v>13.922312</c:v>
                </c:pt>
                <c:pt idx="1128">
                  <c:v>13.45947500000001</c:v>
                </c:pt>
                <c:pt idx="1129">
                  <c:v>13.82704</c:v>
                </c:pt>
                <c:pt idx="1130">
                  <c:v>13.986627</c:v>
                </c:pt>
                <c:pt idx="1131">
                  <c:v>14.361992</c:v>
                </c:pt>
                <c:pt idx="1132">
                  <c:v>14.84026</c:v>
                </c:pt>
                <c:pt idx="1133">
                  <c:v>14.86401600000001</c:v>
                </c:pt>
                <c:pt idx="1134">
                  <c:v>15.010138</c:v>
                </c:pt>
                <c:pt idx="1135">
                  <c:v>15.568118</c:v>
                </c:pt>
                <c:pt idx="1136">
                  <c:v>16.38269999999998</c:v>
                </c:pt>
                <c:pt idx="1137">
                  <c:v>15.76044900000001</c:v>
                </c:pt>
                <c:pt idx="1138">
                  <c:v>15.703275</c:v>
                </c:pt>
                <c:pt idx="1139">
                  <c:v>15.634914</c:v>
                </c:pt>
                <c:pt idx="1140">
                  <c:v>15.610433</c:v>
                </c:pt>
                <c:pt idx="1141">
                  <c:v>14.85660800000001</c:v>
                </c:pt>
                <c:pt idx="1142">
                  <c:v>14.86610500000001</c:v>
                </c:pt>
                <c:pt idx="1143">
                  <c:v>15.444901</c:v>
                </c:pt>
                <c:pt idx="1144">
                  <c:v>15.521261</c:v>
                </c:pt>
                <c:pt idx="1145">
                  <c:v>15.86061600000001</c:v>
                </c:pt>
                <c:pt idx="1146">
                  <c:v>15.31386</c:v>
                </c:pt>
                <c:pt idx="1147">
                  <c:v>14.9919</c:v>
                </c:pt>
                <c:pt idx="1148">
                  <c:v>14.78550200000001</c:v>
                </c:pt>
                <c:pt idx="1149">
                  <c:v>14.6482</c:v>
                </c:pt>
                <c:pt idx="1150">
                  <c:v>14.721305</c:v>
                </c:pt>
                <c:pt idx="1151">
                  <c:v>14.538093</c:v>
                </c:pt>
                <c:pt idx="1152">
                  <c:v>14.410755</c:v>
                </c:pt>
                <c:pt idx="1153">
                  <c:v>14.457668</c:v>
                </c:pt>
                <c:pt idx="1154">
                  <c:v>14.436064</c:v>
                </c:pt>
                <c:pt idx="1155">
                  <c:v>14.358816</c:v>
                </c:pt>
                <c:pt idx="1156">
                  <c:v>14.173259</c:v>
                </c:pt>
                <c:pt idx="1157">
                  <c:v>14.426109</c:v>
                </c:pt>
                <c:pt idx="1158">
                  <c:v>13.97066600000001</c:v>
                </c:pt>
                <c:pt idx="1159">
                  <c:v>13.583052</c:v>
                </c:pt>
                <c:pt idx="1160">
                  <c:v>13.494195</c:v>
                </c:pt>
                <c:pt idx="1161">
                  <c:v>13.623057</c:v>
                </c:pt>
                <c:pt idx="1162">
                  <c:v>13.621469</c:v>
                </c:pt>
                <c:pt idx="1163">
                  <c:v>13.790405</c:v>
                </c:pt>
                <c:pt idx="1164">
                  <c:v>13.988624</c:v>
                </c:pt>
                <c:pt idx="1165">
                  <c:v>13.671472</c:v>
                </c:pt>
                <c:pt idx="1166">
                  <c:v>13.607111</c:v>
                </c:pt>
                <c:pt idx="1167">
                  <c:v>14.45214600000002</c:v>
                </c:pt>
                <c:pt idx="1168">
                  <c:v>14.418116</c:v>
                </c:pt>
                <c:pt idx="1169">
                  <c:v>14.34748400000001</c:v>
                </c:pt>
                <c:pt idx="1170">
                  <c:v>14.827955</c:v>
                </c:pt>
                <c:pt idx="1171">
                  <c:v>14.313905</c:v>
                </c:pt>
                <c:pt idx="1172">
                  <c:v>13.941148</c:v>
                </c:pt>
                <c:pt idx="1173">
                  <c:v>13.697453</c:v>
                </c:pt>
                <c:pt idx="1174">
                  <c:v>13.991652</c:v>
                </c:pt>
                <c:pt idx="1175">
                  <c:v>14.560523</c:v>
                </c:pt>
                <c:pt idx="1176">
                  <c:v>14.908005</c:v>
                </c:pt>
                <c:pt idx="1177">
                  <c:v>14.334835</c:v>
                </c:pt>
                <c:pt idx="1178">
                  <c:v>10.51373</c:v>
                </c:pt>
                <c:pt idx="1179">
                  <c:v>9.701733000000001</c:v>
                </c:pt>
                <c:pt idx="1180">
                  <c:v>9.657845</c:v>
                </c:pt>
                <c:pt idx="1181">
                  <c:v>9.649023</c:v>
                </c:pt>
                <c:pt idx="1182">
                  <c:v>9.527319999999997</c:v>
                </c:pt>
                <c:pt idx="1183">
                  <c:v>9.565119000000002</c:v>
                </c:pt>
                <c:pt idx="1184">
                  <c:v>9.68045</c:v>
                </c:pt>
                <c:pt idx="1185">
                  <c:v>9.320374</c:v>
                </c:pt>
                <c:pt idx="1186">
                  <c:v>9.337779</c:v>
                </c:pt>
                <c:pt idx="1187">
                  <c:v>9.225234</c:v>
                </c:pt>
                <c:pt idx="1188">
                  <c:v>9.380521000000003</c:v>
                </c:pt>
                <c:pt idx="1189">
                  <c:v>9.133166999999998</c:v>
                </c:pt>
                <c:pt idx="1190">
                  <c:v>9.241771999999965</c:v>
                </c:pt>
                <c:pt idx="1191">
                  <c:v>9.063706000000008</c:v>
                </c:pt>
                <c:pt idx="1192">
                  <c:v>8.967745</c:v>
                </c:pt>
                <c:pt idx="1193">
                  <c:v>9.092932000000004</c:v>
                </c:pt>
                <c:pt idx="1194">
                  <c:v>9.01933</c:v>
                </c:pt>
                <c:pt idx="1195">
                  <c:v>9.035969</c:v>
                </c:pt>
                <c:pt idx="1196">
                  <c:v>9.007782</c:v>
                </c:pt>
                <c:pt idx="1197">
                  <c:v>8.86545500000001</c:v>
                </c:pt>
                <c:pt idx="1198">
                  <c:v>8.663282</c:v>
                </c:pt>
                <c:pt idx="1199">
                  <c:v>8.671755000000001</c:v>
                </c:pt>
                <c:pt idx="1200">
                  <c:v>8.759578000000001</c:v>
                </c:pt>
                <c:pt idx="1201">
                  <c:v>8.788333999999998</c:v>
                </c:pt>
                <c:pt idx="1202">
                  <c:v>8.943733000000003</c:v>
                </c:pt>
                <c:pt idx="1203">
                  <c:v>9.546010999999998</c:v>
                </c:pt>
                <c:pt idx="1204">
                  <c:v>9.194034</c:v>
                </c:pt>
                <c:pt idx="1205">
                  <c:v>9.182018000000001</c:v>
                </c:pt>
                <c:pt idx="1206">
                  <c:v>9.769802</c:v>
                </c:pt>
                <c:pt idx="1207">
                  <c:v>10.80561500000001</c:v>
                </c:pt>
                <c:pt idx="1208">
                  <c:v>10.941955</c:v>
                </c:pt>
                <c:pt idx="1209">
                  <c:v>11.075183</c:v>
                </c:pt>
                <c:pt idx="1210">
                  <c:v>10.927165</c:v>
                </c:pt>
                <c:pt idx="1211">
                  <c:v>10.494477</c:v>
                </c:pt>
                <c:pt idx="1212">
                  <c:v>10.358681</c:v>
                </c:pt>
                <c:pt idx="1213">
                  <c:v>10.46359400000001</c:v>
                </c:pt>
                <c:pt idx="1214">
                  <c:v>10.268041</c:v>
                </c:pt>
                <c:pt idx="1215">
                  <c:v>10.225046</c:v>
                </c:pt>
                <c:pt idx="1216">
                  <c:v>10.311628</c:v>
                </c:pt>
                <c:pt idx="1217">
                  <c:v>10.427072</c:v>
                </c:pt>
                <c:pt idx="1218">
                  <c:v>10.034464</c:v>
                </c:pt>
                <c:pt idx="1219">
                  <c:v>10.342198</c:v>
                </c:pt>
                <c:pt idx="1220">
                  <c:v>10.271041</c:v>
                </c:pt>
                <c:pt idx="1221">
                  <c:v>10.086168</c:v>
                </c:pt>
                <c:pt idx="1222">
                  <c:v>10.199047</c:v>
                </c:pt>
                <c:pt idx="1223">
                  <c:v>10.760894</c:v>
                </c:pt>
                <c:pt idx="1224">
                  <c:v>11.039208</c:v>
                </c:pt>
                <c:pt idx="1225">
                  <c:v>10.871868</c:v>
                </c:pt>
                <c:pt idx="1226">
                  <c:v>11.52748900000001</c:v>
                </c:pt>
                <c:pt idx="1227">
                  <c:v>10.940095</c:v>
                </c:pt>
                <c:pt idx="1228">
                  <c:v>10.39137</c:v>
                </c:pt>
                <c:pt idx="1229">
                  <c:v>10.440397</c:v>
                </c:pt>
                <c:pt idx="1230">
                  <c:v>10.265391</c:v>
                </c:pt>
                <c:pt idx="1231">
                  <c:v>10.343958</c:v>
                </c:pt>
                <c:pt idx="1232">
                  <c:v>10.57553000000001</c:v>
                </c:pt>
                <c:pt idx="1233">
                  <c:v>10.320678</c:v>
                </c:pt>
                <c:pt idx="1234">
                  <c:v>10.572911</c:v>
                </c:pt>
                <c:pt idx="1235">
                  <c:v>8.825645000000006</c:v>
                </c:pt>
                <c:pt idx="1236">
                  <c:v>8.829163000000001</c:v>
                </c:pt>
                <c:pt idx="1237">
                  <c:v>8.520715000000001</c:v>
                </c:pt>
                <c:pt idx="1238">
                  <c:v>8.022143000000001</c:v>
                </c:pt>
                <c:pt idx="1239">
                  <c:v>7.958022000000002</c:v>
                </c:pt>
                <c:pt idx="1240">
                  <c:v>8.031661</c:v>
                </c:pt>
                <c:pt idx="1241">
                  <c:v>7.873633000000003</c:v>
                </c:pt>
                <c:pt idx="1242">
                  <c:v>7.925679000000002</c:v>
                </c:pt>
                <c:pt idx="1243">
                  <c:v>8.004414</c:v>
                </c:pt>
                <c:pt idx="1244">
                  <c:v>7.721447</c:v>
                </c:pt>
                <c:pt idx="1245">
                  <c:v>7.646402</c:v>
                </c:pt>
                <c:pt idx="1246">
                  <c:v>7.958692000000004</c:v>
                </c:pt>
                <c:pt idx="1247">
                  <c:v>7.970172000000003</c:v>
                </c:pt>
                <c:pt idx="1248">
                  <c:v>8.112732000000004</c:v>
                </c:pt>
                <c:pt idx="1249">
                  <c:v>8.184000000000001</c:v>
                </c:pt>
                <c:pt idx="1250">
                  <c:v>8.041061999999998</c:v>
                </c:pt>
                <c:pt idx="1251">
                  <c:v>8.195773000000001</c:v>
                </c:pt>
                <c:pt idx="1252">
                  <c:v>8.133614999999998</c:v>
                </c:pt>
                <c:pt idx="1253">
                  <c:v>8.206365000000002</c:v>
                </c:pt>
                <c:pt idx="1254">
                  <c:v>8.40466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41666840"/>
        <c:axId val="1842230408"/>
      </c:lineChart>
      <c:catAx>
        <c:axId val="1841666840"/>
        <c:scaling>
          <c:orientation val="minMax"/>
        </c:scaling>
        <c:delete val="0"/>
        <c:axPos val="b"/>
        <c:majorGridlines>
          <c:spPr>
            <a:ln w="3175">
              <a:solidFill>
                <a:srgbClr val="E9E9E9"/>
              </a:solidFill>
              <a:prstDash val="solid"/>
            </a:ln>
          </c:spPr>
        </c:majorGridlines>
        <c:numFmt formatCode="mmm\-dd\-yyyy" sourceLinked="0"/>
        <c:majorTickMark val="out"/>
        <c:minorTickMark val="none"/>
        <c:tickLblPos val="low"/>
        <c:spPr>
          <a:ln w="3175">
            <a:solidFill>
              <a:srgbClr val="000000"/>
            </a:solidFill>
            <a:prstDash val="solid"/>
          </a:ln>
        </c:spPr>
        <c:txPr>
          <a:bodyPr rot="-270000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842230408"/>
        <c:crossesAt val="-10.0"/>
        <c:auto val="0"/>
        <c:lblAlgn val="ctr"/>
        <c:lblOffset val="100"/>
        <c:tickLblSkip val="51"/>
        <c:tickMarkSkip val="51"/>
        <c:noMultiLvlLbl val="0"/>
      </c:catAx>
      <c:valAx>
        <c:axId val="1842230408"/>
        <c:scaling>
          <c:orientation val="minMax"/>
          <c:max val="100.0"/>
          <c:min val="-10.0"/>
        </c:scaling>
        <c:delete val="0"/>
        <c:axPos val="l"/>
        <c:majorGridlines>
          <c:spPr>
            <a:ln w="3175">
              <a:solidFill>
                <a:srgbClr val="E9E9E9"/>
              </a:solidFill>
              <a:prstDash val="solid"/>
            </a:ln>
          </c:spPr>
        </c:majorGridlines>
        <c:numFmt formatCode="[&lt;1000]#,##0.00;General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841666840"/>
        <c:crosses val="autoZero"/>
        <c:crossBetween val="between"/>
      </c:valAx>
      <c:spPr>
        <a:gradFill rotWithShape="0">
          <a:gsLst>
            <a:gs pos="0">
              <a:srgbClr val="FFFFFF"/>
            </a:gs>
            <a:gs pos="100000">
              <a:srgbClr val="E8F3FE"/>
            </a:gs>
          </a:gsLst>
          <a:lin ang="5400000" scaled="1"/>
        </a:gradFill>
        <a:ln w="12700">
          <a:solidFill>
            <a:srgbClr val="808080"/>
          </a:solidFill>
          <a:prstDash val="solid"/>
        </a:ln>
      </c:spPr>
    </c:plotArea>
    <c:legend>
      <c:legendPos val="b"/>
      <c:layout>
        <c:manualLayout>
          <c:xMode val="edge"/>
          <c:yMode val="edge"/>
          <c:x val="0.369491933143464"/>
          <c:y val="0.934873949579832"/>
          <c:w val="0.336723535402913"/>
          <c:h val="0.0504201680672269"/>
        </c:manualLayout>
      </c:layout>
      <c:overlay val="0"/>
      <c:spPr>
        <a:solidFill>
          <a:srgbClr val="FFFFFF"/>
        </a:solidFill>
        <a:ln w="3175">
          <a:solidFill>
            <a:srgbClr val="000000"/>
          </a:solidFill>
          <a:prstDash val="solid"/>
        </a:ln>
      </c:spPr>
      <c:txPr>
        <a:bodyPr/>
        <a:lstStyle/>
        <a:p>
          <a:pPr>
            <a:defRPr sz="920" b="0" i="0" u="none" strike="noStrike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cat>
            <c:strRef>
              <c:f>'Key Stats'!$B$15:$F$15</c:f>
              <c:strCache>
                <c:ptCount val="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LTM </c:v>
                </c:pt>
              </c:strCache>
            </c:strRef>
          </c:cat>
          <c:val>
            <c:numRef>
              <c:f>'Key Stats'!$B$16:$F$16</c:f>
              <c:numCache>
                <c:formatCode>_(* #,##0.0_);_(* \(#,##0.0\)_)\ ;_(* 0_)</c:formatCode>
                <c:ptCount val="5"/>
                <c:pt idx="0">
                  <c:v>14953.0</c:v>
                </c:pt>
                <c:pt idx="1">
                  <c:v>19907.0</c:v>
                </c:pt>
                <c:pt idx="2">
                  <c:v>18423.0</c:v>
                </c:pt>
                <c:pt idx="3">
                  <c:v>11073.0</c:v>
                </c:pt>
                <c:pt idx="4">
                  <c:v>10048.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844409592"/>
        <c:axId val="1844412568"/>
      </c:barChart>
      <c:catAx>
        <c:axId val="1844409592"/>
        <c:scaling>
          <c:orientation val="minMax"/>
        </c:scaling>
        <c:delete val="0"/>
        <c:axPos val="b"/>
        <c:majorTickMark val="out"/>
        <c:minorTickMark val="none"/>
        <c:tickLblPos val="nextTo"/>
        <c:crossAx val="1844412568"/>
        <c:crosses val="autoZero"/>
        <c:auto val="1"/>
        <c:lblAlgn val="ctr"/>
        <c:lblOffset val="100"/>
        <c:noMultiLvlLbl val="0"/>
      </c:catAx>
      <c:valAx>
        <c:axId val="1844412568"/>
        <c:scaling>
          <c:orientation val="minMax"/>
        </c:scaling>
        <c:delete val="1"/>
        <c:axPos val="l"/>
        <c:numFmt formatCode="_(* #,##0.0_);_(* \(#,##0.0\)_)\ ;_(* 0_)" sourceLinked="1"/>
        <c:majorTickMark val="out"/>
        <c:minorTickMark val="none"/>
        <c:tickLblPos val="nextTo"/>
        <c:crossAx val="184440959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370370370370371"/>
          <c:y val="0.140350877192982"/>
          <c:w val="0.932098765432099"/>
          <c:h val="0.618588893493578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cat>
            <c:strRef>
              <c:f>'Key Stats'!$B$21:$F$21</c:f>
              <c:strCache>
                <c:ptCount val="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LTM </c:v>
                </c:pt>
              </c:strCache>
            </c:strRef>
          </c:cat>
          <c:val>
            <c:numRef>
              <c:f>'Key Stats'!$B$22:$F$22</c:f>
              <c:numCache>
                <c:formatCode>_(* #,##0.0_);_(* \(#,##0.0\)_)\ ;_(* 0_)</c:formatCode>
                <c:ptCount val="5"/>
                <c:pt idx="0">
                  <c:v>4105.0</c:v>
                </c:pt>
                <c:pt idx="1">
                  <c:v>5563.0</c:v>
                </c:pt>
                <c:pt idx="2">
                  <c:v>3500.0</c:v>
                </c:pt>
                <c:pt idx="3">
                  <c:v>1238.0</c:v>
                </c:pt>
                <c:pt idx="4">
                  <c:v>156.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841837400"/>
        <c:axId val="1841983736"/>
      </c:barChart>
      <c:catAx>
        <c:axId val="1841837400"/>
        <c:scaling>
          <c:orientation val="minMax"/>
        </c:scaling>
        <c:delete val="0"/>
        <c:axPos val="b"/>
        <c:majorTickMark val="out"/>
        <c:minorTickMark val="none"/>
        <c:tickLblPos val="nextTo"/>
        <c:crossAx val="1841983736"/>
        <c:crosses val="autoZero"/>
        <c:auto val="1"/>
        <c:lblAlgn val="ctr"/>
        <c:lblOffset val="100"/>
        <c:noMultiLvlLbl val="0"/>
      </c:catAx>
      <c:valAx>
        <c:axId val="1841983736"/>
        <c:scaling>
          <c:orientation val="minMax"/>
        </c:scaling>
        <c:delete val="1"/>
        <c:axPos val="l"/>
        <c:numFmt formatCode="_(* #,##0.0_);_(* \(#,##0.0\)_)\ ;_(* 0_)" sourceLinked="1"/>
        <c:majorTickMark val="out"/>
        <c:minorTickMark val="none"/>
        <c:tickLblPos val="nextTo"/>
        <c:crossAx val="184183740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2!$A$4</c:f>
              <c:strCache>
                <c:ptCount val="1"/>
                <c:pt idx="0">
                  <c:v>Devices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2!$B$2:$C$2</c:f>
              <c:strCache>
                <c:ptCount val="2"/>
                <c:pt idx="0">
                  <c:v>March 2, 2013</c:v>
                </c:pt>
                <c:pt idx="1">
                  <c:v>March 3, 2012</c:v>
                </c:pt>
              </c:strCache>
            </c:strRef>
          </c:cat>
          <c:val>
            <c:numRef>
              <c:f>Sheet2!$B$4:$C$4</c:f>
              <c:numCache>
                <c:formatCode>#,##0</c:formatCode>
                <c:ptCount val="2"/>
                <c:pt idx="0">
                  <c:v>6648.0</c:v>
                </c:pt>
                <c:pt idx="1">
                  <c:v>13794.0</c:v>
                </c:pt>
              </c:numCache>
            </c:numRef>
          </c:val>
        </c:ser>
        <c:ser>
          <c:idx val="1"/>
          <c:order val="1"/>
          <c:tx>
            <c:strRef>
              <c:f>Sheet2!$A$5</c:f>
              <c:strCache>
                <c:ptCount val="1"/>
                <c:pt idx="0">
                  <c:v>Servic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2!$B$2:$C$2</c:f>
              <c:strCache>
                <c:ptCount val="2"/>
                <c:pt idx="0">
                  <c:v>March 2, 2013</c:v>
                </c:pt>
                <c:pt idx="1">
                  <c:v>March 3, 2012</c:v>
                </c:pt>
              </c:strCache>
            </c:strRef>
          </c:cat>
          <c:val>
            <c:numRef>
              <c:f>Sheet2!$B$5:$C$5</c:f>
              <c:numCache>
                <c:formatCode>#,##0</c:formatCode>
                <c:ptCount val="2"/>
                <c:pt idx="0">
                  <c:v>3910.0</c:v>
                </c:pt>
                <c:pt idx="1">
                  <c:v>4074.0</c:v>
                </c:pt>
              </c:numCache>
            </c:numRef>
          </c:val>
        </c:ser>
        <c:ser>
          <c:idx val="2"/>
          <c:order val="2"/>
          <c:tx>
            <c:strRef>
              <c:f>Sheet2!$A$6</c:f>
              <c:strCache>
                <c:ptCount val="1"/>
                <c:pt idx="0">
                  <c:v>Software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dLbls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2!$B$2:$C$2</c:f>
              <c:strCache>
                <c:ptCount val="2"/>
                <c:pt idx="0">
                  <c:v>March 2, 2013</c:v>
                </c:pt>
                <c:pt idx="1">
                  <c:v>March 3, 2012</c:v>
                </c:pt>
              </c:strCache>
            </c:strRef>
          </c:cat>
          <c:val>
            <c:numRef>
              <c:f>Sheet2!$B$6:$C$6</c:f>
              <c:numCache>
                <c:formatCode>General</c:formatCode>
                <c:ptCount val="2"/>
                <c:pt idx="0">
                  <c:v>261.0</c:v>
                </c:pt>
                <c:pt idx="1">
                  <c:v>318.0</c:v>
                </c:pt>
              </c:numCache>
            </c:numRef>
          </c:val>
        </c:ser>
        <c:ser>
          <c:idx val="3"/>
          <c:order val="3"/>
          <c:tx>
            <c:strRef>
              <c:f>Sheet2!$A$7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Lbls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2!$B$2:$C$2</c:f>
              <c:strCache>
                <c:ptCount val="2"/>
                <c:pt idx="0">
                  <c:v>March 2, 2013</c:v>
                </c:pt>
                <c:pt idx="1">
                  <c:v>March 3, 2012</c:v>
                </c:pt>
              </c:strCache>
            </c:strRef>
          </c:cat>
          <c:val>
            <c:numRef>
              <c:f>Sheet2!$B$7:$C$7</c:f>
              <c:numCache>
                <c:formatCode>General</c:formatCode>
                <c:ptCount val="2"/>
                <c:pt idx="0">
                  <c:v>254.0</c:v>
                </c:pt>
                <c:pt idx="1">
                  <c:v>237.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0"/>
        <c:overlap val="100"/>
        <c:serLines/>
        <c:axId val="1843544072"/>
        <c:axId val="1841980744"/>
      </c:barChart>
      <c:catAx>
        <c:axId val="1843544072"/>
        <c:scaling>
          <c:orientation val="minMax"/>
        </c:scaling>
        <c:delete val="0"/>
        <c:axPos val="b"/>
        <c:majorTickMark val="none"/>
        <c:minorTickMark val="none"/>
        <c:tickLblPos val="nextTo"/>
        <c:crossAx val="1841980744"/>
        <c:crosses val="autoZero"/>
        <c:auto val="1"/>
        <c:lblAlgn val="ctr"/>
        <c:lblOffset val="100"/>
        <c:noMultiLvlLbl val="0"/>
      </c:catAx>
      <c:valAx>
        <c:axId val="1841980744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843544072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BCA8B26-A2F8-DC4D-B076-74BCFD926EAD}" type="doc">
      <dgm:prSet loTypeId="urn:microsoft.com/office/officeart/2008/layout/IncreasingCircleProcess" loCatId="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347691B-75D5-6640-932D-4369F536A596}">
      <dgm:prSet phldrT="[Text]"/>
      <dgm:spPr/>
      <dgm:t>
        <a:bodyPr/>
        <a:lstStyle/>
        <a:p>
          <a:r>
            <a:rPr lang="en-US" dirty="0" smtClean="0"/>
            <a:t>$2.3 </a:t>
          </a:r>
          <a:r>
            <a:rPr lang="en-US" dirty="0" err="1" smtClean="0"/>
            <a:t>bn</a:t>
          </a:r>
          <a:endParaRPr lang="en-US" dirty="0"/>
        </a:p>
      </dgm:t>
    </dgm:pt>
    <dgm:pt modelId="{AAB4372D-92DE-9C48-87AB-B56CCC07C96C}" type="parTrans" cxnId="{476BA595-C1B7-424C-8D02-20230899C02A}">
      <dgm:prSet/>
      <dgm:spPr/>
      <dgm:t>
        <a:bodyPr/>
        <a:lstStyle/>
        <a:p>
          <a:endParaRPr lang="en-US"/>
        </a:p>
      </dgm:t>
    </dgm:pt>
    <dgm:pt modelId="{FA18EE60-1343-7948-9CDA-E556CBAFDDFE}" type="sibTrans" cxnId="{476BA595-C1B7-424C-8D02-20230899C02A}">
      <dgm:prSet/>
      <dgm:spPr/>
      <dgm:t>
        <a:bodyPr/>
        <a:lstStyle/>
        <a:p>
          <a:endParaRPr lang="en-US"/>
        </a:p>
      </dgm:t>
    </dgm:pt>
    <dgm:pt modelId="{4313A94B-3452-D748-A601-56E09EDBC7E1}">
      <dgm:prSet phldrT="[Text]" custT="1"/>
      <dgm:spPr/>
      <dgm:t>
        <a:bodyPr/>
        <a:lstStyle/>
        <a:p>
          <a:r>
            <a:rPr lang="en-US" sz="2400" dirty="0" smtClean="0"/>
            <a:t>August 2013</a:t>
          </a:r>
          <a:endParaRPr lang="en-US" sz="2400" dirty="0"/>
        </a:p>
      </dgm:t>
    </dgm:pt>
    <dgm:pt modelId="{CBD20DB1-8397-F342-972E-AF12199DBCFD}" type="parTrans" cxnId="{69257C0A-B4F7-B042-B27A-D96D72AEC7C5}">
      <dgm:prSet/>
      <dgm:spPr/>
      <dgm:t>
        <a:bodyPr/>
        <a:lstStyle/>
        <a:p>
          <a:endParaRPr lang="en-US"/>
        </a:p>
      </dgm:t>
    </dgm:pt>
    <dgm:pt modelId="{EA92E190-B322-8246-820C-A5B7D7C2B8E4}" type="sibTrans" cxnId="{69257C0A-B4F7-B042-B27A-D96D72AEC7C5}">
      <dgm:prSet/>
      <dgm:spPr/>
      <dgm:t>
        <a:bodyPr/>
        <a:lstStyle/>
        <a:p>
          <a:endParaRPr lang="en-US"/>
        </a:p>
      </dgm:t>
    </dgm:pt>
    <dgm:pt modelId="{799919B2-8BFB-5D4B-87B0-F6075C6E697B}">
      <dgm:prSet phldrT="[Text]" custT="1"/>
      <dgm:spPr/>
      <dgm:t>
        <a:bodyPr/>
        <a:lstStyle/>
        <a:p>
          <a:r>
            <a:rPr lang="en-US" sz="2400" dirty="0" smtClean="0"/>
            <a:t>March 2013</a:t>
          </a:r>
          <a:endParaRPr lang="en-US" sz="2400" dirty="0"/>
        </a:p>
      </dgm:t>
    </dgm:pt>
    <dgm:pt modelId="{7DAA6EFD-7268-CD43-BC87-438D0D9923AA}" type="parTrans" cxnId="{E6970F46-E64F-5A41-B9F3-9C7AD83D38E9}">
      <dgm:prSet/>
      <dgm:spPr/>
      <dgm:t>
        <a:bodyPr/>
        <a:lstStyle/>
        <a:p>
          <a:endParaRPr lang="en-US"/>
        </a:p>
      </dgm:t>
    </dgm:pt>
    <dgm:pt modelId="{7E9E1607-DAE5-1E43-9A4E-4B63E1ECDFBF}" type="sibTrans" cxnId="{E6970F46-E64F-5A41-B9F3-9C7AD83D38E9}">
      <dgm:prSet/>
      <dgm:spPr/>
      <dgm:t>
        <a:bodyPr/>
        <a:lstStyle/>
        <a:p>
          <a:endParaRPr lang="en-US"/>
        </a:p>
      </dgm:t>
    </dgm:pt>
    <dgm:pt modelId="{9DB84FF3-9B98-4543-B232-BC02E6D82607}">
      <dgm:prSet phldrT="[Text]"/>
      <dgm:spPr/>
      <dgm:t>
        <a:bodyPr/>
        <a:lstStyle/>
        <a:p>
          <a:r>
            <a:rPr lang="en-US" dirty="0" smtClean="0"/>
            <a:t>$2.6 </a:t>
          </a:r>
          <a:r>
            <a:rPr lang="en-US" dirty="0" err="1" smtClean="0"/>
            <a:t>bn</a:t>
          </a:r>
          <a:endParaRPr lang="en-US" dirty="0"/>
        </a:p>
      </dgm:t>
    </dgm:pt>
    <dgm:pt modelId="{7852AD60-1FF0-C543-B73A-9172610D6BFA}" type="sibTrans" cxnId="{C3275F23-8AB4-B541-A3E5-7BB68CD0C8CC}">
      <dgm:prSet/>
      <dgm:spPr/>
      <dgm:t>
        <a:bodyPr/>
        <a:lstStyle/>
        <a:p>
          <a:endParaRPr lang="en-US"/>
        </a:p>
      </dgm:t>
    </dgm:pt>
    <dgm:pt modelId="{F6E05850-3EEB-3A4F-A00E-0E887A9650D6}" type="parTrans" cxnId="{C3275F23-8AB4-B541-A3E5-7BB68CD0C8CC}">
      <dgm:prSet/>
      <dgm:spPr/>
      <dgm:t>
        <a:bodyPr/>
        <a:lstStyle/>
        <a:p>
          <a:endParaRPr lang="en-US"/>
        </a:p>
      </dgm:t>
    </dgm:pt>
    <dgm:pt modelId="{94A88D48-70A3-2E45-8DBD-3A5022B4BD17}" type="pres">
      <dgm:prSet presAssocID="{0BCA8B26-A2F8-DC4D-B076-74BCFD926EAD}" presName="Name0" presStyleCnt="0">
        <dgm:presLayoutVars>
          <dgm:chMax val="7"/>
          <dgm:chPref val="7"/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BBAD4460-3803-A14A-BB12-B25D47A611C0}" type="pres">
      <dgm:prSet presAssocID="{D347691B-75D5-6640-932D-4369F536A596}" presName="composite" presStyleCnt="0"/>
      <dgm:spPr/>
    </dgm:pt>
    <dgm:pt modelId="{A221FB6A-5F9A-7549-887F-37BF4FFB7349}" type="pres">
      <dgm:prSet presAssocID="{D347691B-75D5-6640-932D-4369F536A596}" presName="BackAccent" presStyleLbl="bgShp" presStyleIdx="0" presStyleCnt="2"/>
      <dgm:spPr/>
    </dgm:pt>
    <dgm:pt modelId="{8B7137B3-25B9-6546-85C7-7E07C0ECBC10}" type="pres">
      <dgm:prSet presAssocID="{D347691B-75D5-6640-932D-4369F536A596}" presName="Accent" presStyleLbl="alignNode1" presStyleIdx="0" presStyleCnt="2"/>
      <dgm:spPr/>
    </dgm:pt>
    <dgm:pt modelId="{2E80E9C5-718E-B143-9A1A-A77228C6D478}" type="pres">
      <dgm:prSet presAssocID="{D347691B-75D5-6640-932D-4369F536A596}" presName="Child" presStyleLbl="revTx" presStyleIdx="0" presStyleCnt="4" custLinFactNeighborX="-73438" custLinFactNeighborY="1093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3422C25-396C-1844-88B4-ED7B6642C42B}" type="pres">
      <dgm:prSet presAssocID="{D347691B-75D5-6640-932D-4369F536A596}" presName="Parent" presStyleLbl="revTx" presStyleIdx="1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18F0D42-17A3-F648-98E8-1E176F9BCDA5}" type="pres">
      <dgm:prSet presAssocID="{FA18EE60-1343-7948-9CDA-E556CBAFDDFE}" presName="sibTrans" presStyleCnt="0"/>
      <dgm:spPr/>
    </dgm:pt>
    <dgm:pt modelId="{9E8B03AA-0BEE-B040-B472-95908E5EE951}" type="pres">
      <dgm:prSet presAssocID="{9DB84FF3-9B98-4543-B232-BC02E6D82607}" presName="composite" presStyleCnt="0"/>
      <dgm:spPr/>
    </dgm:pt>
    <dgm:pt modelId="{CFC7E6B4-A108-D24C-96FE-F3D9416A3855}" type="pres">
      <dgm:prSet presAssocID="{9DB84FF3-9B98-4543-B232-BC02E6D82607}" presName="BackAccent" presStyleLbl="bgShp" presStyleIdx="1" presStyleCnt="2"/>
      <dgm:spPr/>
    </dgm:pt>
    <dgm:pt modelId="{D4E70210-D257-E641-8BBD-7ADA54653138}" type="pres">
      <dgm:prSet presAssocID="{9DB84FF3-9B98-4543-B232-BC02E6D82607}" presName="Accent" presStyleLbl="alignNode1" presStyleIdx="1" presStyleCnt="2"/>
      <dgm:spPr/>
    </dgm:pt>
    <dgm:pt modelId="{B082ECC6-040D-8D4D-9EBE-FB6EAD1455F9}" type="pres">
      <dgm:prSet presAssocID="{9DB84FF3-9B98-4543-B232-BC02E6D82607}" presName="Child" presStyleLbl="revTx" presStyleIdx="2" presStyleCnt="4" custLinFactNeighborX="-40755" custLinFactNeighborY="1093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B2ED6A3-7303-6E4A-A3B7-76689D90A55D}" type="pres">
      <dgm:prSet presAssocID="{9DB84FF3-9B98-4543-B232-BC02E6D82607}" presName="Parent" presStyleLbl="revTx" presStyleIdx="3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6970F46-E64F-5A41-B9F3-9C7AD83D38E9}" srcId="{9DB84FF3-9B98-4543-B232-BC02E6D82607}" destId="{799919B2-8BFB-5D4B-87B0-F6075C6E697B}" srcOrd="0" destOrd="0" parTransId="{7DAA6EFD-7268-CD43-BC87-438D0D9923AA}" sibTransId="{7E9E1607-DAE5-1E43-9A4E-4B63E1ECDFBF}"/>
    <dgm:cxn modelId="{BB2DD92A-E01F-4DB8-AF52-EF97F83431AC}" type="presOf" srcId="{0BCA8B26-A2F8-DC4D-B076-74BCFD926EAD}" destId="{94A88D48-70A3-2E45-8DBD-3A5022B4BD17}" srcOrd="0" destOrd="0" presId="urn:microsoft.com/office/officeart/2008/layout/IncreasingCircleProcess"/>
    <dgm:cxn modelId="{69257C0A-B4F7-B042-B27A-D96D72AEC7C5}" srcId="{D347691B-75D5-6640-932D-4369F536A596}" destId="{4313A94B-3452-D748-A601-56E09EDBC7E1}" srcOrd="0" destOrd="0" parTransId="{CBD20DB1-8397-F342-972E-AF12199DBCFD}" sibTransId="{EA92E190-B322-8246-820C-A5B7D7C2B8E4}"/>
    <dgm:cxn modelId="{AA5F9057-AE9B-44A5-9813-1703BBD36664}" type="presOf" srcId="{9DB84FF3-9B98-4543-B232-BC02E6D82607}" destId="{7B2ED6A3-7303-6E4A-A3B7-76689D90A55D}" srcOrd="0" destOrd="0" presId="urn:microsoft.com/office/officeart/2008/layout/IncreasingCircleProcess"/>
    <dgm:cxn modelId="{476BA595-C1B7-424C-8D02-20230899C02A}" srcId="{0BCA8B26-A2F8-DC4D-B076-74BCFD926EAD}" destId="{D347691B-75D5-6640-932D-4369F536A596}" srcOrd="0" destOrd="0" parTransId="{AAB4372D-92DE-9C48-87AB-B56CCC07C96C}" sibTransId="{FA18EE60-1343-7948-9CDA-E556CBAFDDFE}"/>
    <dgm:cxn modelId="{B17BCB18-3B07-4D78-B104-21E19472816B}" type="presOf" srcId="{799919B2-8BFB-5D4B-87B0-F6075C6E697B}" destId="{B082ECC6-040D-8D4D-9EBE-FB6EAD1455F9}" srcOrd="0" destOrd="0" presId="urn:microsoft.com/office/officeart/2008/layout/IncreasingCircleProcess"/>
    <dgm:cxn modelId="{AF4C759D-F669-4D73-87F4-D22B6F5F4DFC}" type="presOf" srcId="{D347691B-75D5-6640-932D-4369F536A596}" destId="{03422C25-396C-1844-88B4-ED7B6642C42B}" srcOrd="0" destOrd="0" presId="urn:microsoft.com/office/officeart/2008/layout/IncreasingCircleProcess"/>
    <dgm:cxn modelId="{C3275F23-8AB4-B541-A3E5-7BB68CD0C8CC}" srcId="{0BCA8B26-A2F8-DC4D-B076-74BCFD926EAD}" destId="{9DB84FF3-9B98-4543-B232-BC02E6D82607}" srcOrd="1" destOrd="0" parTransId="{F6E05850-3EEB-3A4F-A00E-0E887A9650D6}" sibTransId="{7852AD60-1FF0-C543-B73A-9172610D6BFA}"/>
    <dgm:cxn modelId="{3F06A7FE-08E8-473A-9C86-5B96CC5C7E47}" type="presOf" srcId="{4313A94B-3452-D748-A601-56E09EDBC7E1}" destId="{2E80E9C5-718E-B143-9A1A-A77228C6D478}" srcOrd="0" destOrd="0" presId="urn:microsoft.com/office/officeart/2008/layout/IncreasingCircleProcess"/>
    <dgm:cxn modelId="{A53992F9-DA17-4639-B743-92B184A1F3D3}" type="presParOf" srcId="{94A88D48-70A3-2E45-8DBD-3A5022B4BD17}" destId="{BBAD4460-3803-A14A-BB12-B25D47A611C0}" srcOrd="0" destOrd="0" presId="urn:microsoft.com/office/officeart/2008/layout/IncreasingCircleProcess"/>
    <dgm:cxn modelId="{FACAADCC-0783-4520-AEDA-54D8FBA7D257}" type="presParOf" srcId="{BBAD4460-3803-A14A-BB12-B25D47A611C0}" destId="{A221FB6A-5F9A-7549-887F-37BF4FFB7349}" srcOrd="0" destOrd="0" presId="urn:microsoft.com/office/officeart/2008/layout/IncreasingCircleProcess"/>
    <dgm:cxn modelId="{011A9177-FC01-4E88-B9A7-B4BAFF8458F6}" type="presParOf" srcId="{BBAD4460-3803-A14A-BB12-B25D47A611C0}" destId="{8B7137B3-25B9-6546-85C7-7E07C0ECBC10}" srcOrd="1" destOrd="0" presId="urn:microsoft.com/office/officeart/2008/layout/IncreasingCircleProcess"/>
    <dgm:cxn modelId="{AFE4DCD9-68A6-4B4F-842C-7B8699C27249}" type="presParOf" srcId="{BBAD4460-3803-A14A-BB12-B25D47A611C0}" destId="{2E80E9C5-718E-B143-9A1A-A77228C6D478}" srcOrd="2" destOrd="0" presId="urn:microsoft.com/office/officeart/2008/layout/IncreasingCircleProcess"/>
    <dgm:cxn modelId="{E16013E4-5577-43FB-8510-77669853BD6C}" type="presParOf" srcId="{BBAD4460-3803-A14A-BB12-B25D47A611C0}" destId="{03422C25-396C-1844-88B4-ED7B6642C42B}" srcOrd="3" destOrd="0" presId="urn:microsoft.com/office/officeart/2008/layout/IncreasingCircleProcess"/>
    <dgm:cxn modelId="{9FF08A44-3BF5-4BF6-9AE5-0FECD33C29CF}" type="presParOf" srcId="{94A88D48-70A3-2E45-8DBD-3A5022B4BD17}" destId="{018F0D42-17A3-F648-98E8-1E176F9BCDA5}" srcOrd="1" destOrd="0" presId="urn:microsoft.com/office/officeart/2008/layout/IncreasingCircleProcess"/>
    <dgm:cxn modelId="{00CAC3BE-A1F0-4DCA-8665-5C3938793235}" type="presParOf" srcId="{94A88D48-70A3-2E45-8DBD-3A5022B4BD17}" destId="{9E8B03AA-0BEE-B040-B472-95908E5EE951}" srcOrd="2" destOrd="0" presId="urn:microsoft.com/office/officeart/2008/layout/IncreasingCircleProcess"/>
    <dgm:cxn modelId="{C343FAF8-0035-4E36-9442-83F83B6A174B}" type="presParOf" srcId="{9E8B03AA-0BEE-B040-B472-95908E5EE951}" destId="{CFC7E6B4-A108-D24C-96FE-F3D9416A3855}" srcOrd="0" destOrd="0" presId="urn:microsoft.com/office/officeart/2008/layout/IncreasingCircleProcess"/>
    <dgm:cxn modelId="{C12ECD7A-D37B-4161-A520-97E196D393FF}" type="presParOf" srcId="{9E8B03AA-0BEE-B040-B472-95908E5EE951}" destId="{D4E70210-D257-E641-8BBD-7ADA54653138}" srcOrd="1" destOrd="0" presId="urn:microsoft.com/office/officeart/2008/layout/IncreasingCircleProcess"/>
    <dgm:cxn modelId="{2C35DA69-9DBE-490F-ACB0-1FFC1246A58E}" type="presParOf" srcId="{9E8B03AA-0BEE-B040-B472-95908E5EE951}" destId="{B082ECC6-040D-8D4D-9EBE-FB6EAD1455F9}" srcOrd="2" destOrd="0" presId="urn:microsoft.com/office/officeart/2008/layout/IncreasingCircleProcess"/>
    <dgm:cxn modelId="{88271AE6-F24F-4BD6-AE5A-CFD7DFD83983}" type="presParOf" srcId="{9E8B03AA-0BEE-B040-B472-95908E5EE951}" destId="{7B2ED6A3-7303-6E4A-A3B7-76689D90A55D}" srcOrd="3" destOrd="0" presId="urn:microsoft.com/office/officeart/2008/layout/IncreasingCircle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5AE005F-C436-A448-A173-D7E7CD96E3A9}" type="doc">
      <dgm:prSet loTypeId="urn:microsoft.com/office/officeart/2008/layout/VerticalCurvedList" loCatId="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167BC8F-E42D-EA44-B2AB-70413655BD52}">
      <dgm:prSet phldrT="[Text]"/>
      <dgm:spPr/>
      <dgm:t>
        <a:bodyPr/>
        <a:lstStyle/>
        <a:p>
          <a:r>
            <a:rPr lang="en-US" dirty="0" smtClean="0"/>
            <a:t>Liquidation</a:t>
          </a:r>
          <a:endParaRPr lang="en-US" dirty="0"/>
        </a:p>
      </dgm:t>
    </dgm:pt>
    <dgm:pt modelId="{F6CAF8DB-06DB-DF47-9C6D-3CAB2E13DA8F}" type="parTrans" cxnId="{118C3ABE-B8EA-F34A-96E4-7A4663FB82BF}">
      <dgm:prSet/>
      <dgm:spPr/>
      <dgm:t>
        <a:bodyPr/>
        <a:lstStyle/>
        <a:p>
          <a:endParaRPr lang="en-US"/>
        </a:p>
      </dgm:t>
    </dgm:pt>
    <dgm:pt modelId="{16E2DF7F-12E0-A946-8A3A-BF4392B54838}" type="sibTrans" cxnId="{118C3ABE-B8EA-F34A-96E4-7A4663FB82BF}">
      <dgm:prSet/>
      <dgm:spPr/>
      <dgm:t>
        <a:bodyPr/>
        <a:lstStyle/>
        <a:p>
          <a:endParaRPr lang="en-US"/>
        </a:p>
      </dgm:t>
    </dgm:pt>
    <dgm:pt modelId="{24F6BB1C-D74F-C645-890A-72B2E4108166}">
      <dgm:prSet phldrT="[Text]"/>
      <dgm:spPr/>
      <dgm:t>
        <a:bodyPr/>
        <a:lstStyle/>
        <a:p>
          <a:r>
            <a:rPr lang="en-US" dirty="0" smtClean="0"/>
            <a:t>Cost Cutting</a:t>
          </a:r>
          <a:endParaRPr lang="en-US" dirty="0"/>
        </a:p>
      </dgm:t>
    </dgm:pt>
    <dgm:pt modelId="{3F63D039-686D-CA43-806C-5041393F84E1}" type="parTrans" cxnId="{5B42025E-652D-D445-BAAB-946905FEF299}">
      <dgm:prSet/>
      <dgm:spPr/>
      <dgm:t>
        <a:bodyPr/>
        <a:lstStyle/>
        <a:p>
          <a:endParaRPr lang="en-US"/>
        </a:p>
      </dgm:t>
    </dgm:pt>
    <dgm:pt modelId="{F021014D-3533-8F4E-877F-C27E8E2A49E1}" type="sibTrans" cxnId="{5B42025E-652D-D445-BAAB-946905FEF299}">
      <dgm:prSet/>
      <dgm:spPr/>
      <dgm:t>
        <a:bodyPr/>
        <a:lstStyle/>
        <a:p>
          <a:endParaRPr lang="en-US"/>
        </a:p>
      </dgm:t>
    </dgm:pt>
    <dgm:pt modelId="{22D27034-9635-7142-A4D5-35AA5EFE779E}">
      <dgm:prSet phldrT="[Text]"/>
      <dgm:spPr/>
      <dgm:t>
        <a:bodyPr/>
        <a:lstStyle/>
        <a:p>
          <a:r>
            <a:rPr lang="en-US" dirty="0" smtClean="0"/>
            <a:t>Acquisitions / Partnerships</a:t>
          </a:r>
          <a:endParaRPr lang="en-US" dirty="0"/>
        </a:p>
      </dgm:t>
    </dgm:pt>
    <dgm:pt modelId="{49BCBFAF-1338-FE42-B9CD-C80F2AF2FED0}" type="parTrans" cxnId="{64E797D0-560A-1F4B-9A80-A8E7B86C2C77}">
      <dgm:prSet/>
      <dgm:spPr/>
      <dgm:t>
        <a:bodyPr/>
        <a:lstStyle/>
        <a:p>
          <a:endParaRPr lang="en-US"/>
        </a:p>
      </dgm:t>
    </dgm:pt>
    <dgm:pt modelId="{E0B8C914-6701-D649-8DCB-6262A3FE9F5F}" type="sibTrans" cxnId="{64E797D0-560A-1F4B-9A80-A8E7B86C2C77}">
      <dgm:prSet/>
      <dgm:spPr/>
      <dgm:t>
        <a:bodyPr/>
        <a:lstStyle/>
        <a:p>
          <a:endParaRPr lang="en-US"/>
        </a:p>
      </dgm:t>
    </dgm:pt>
    <dgm:pt modelId="{5E48B848-CD66-AC41-A3FC-47D5E774ECDE}">
      <dgm:prSet phldrT="[Text]"/>
      <dgm:spPr/>
      <dgm:t>
        <a:bodyPr/>
        <a:lstStyle/>
        <a:p>
          <a:r>
            <a:rPr lang="en-US" dirty="0" smtClean="0"/>
            <a:t>Platform and Technology Innovation </a:t>
          </a:r>
          <a:endParaRPr lang="en-US" dirty="0"/>
        </a:p>
      </dgm:t>
    </dgm:pt>
    <dgm:pt modelId="{F108E149-5FCB-8B4F-BECB-15DAD7C476E2}" type="parTrans" cxnId="{5B8B0A63-21F9-DB46-A9BA-669AB473172F}">
      <dgm:prSet/>
      <dgm:spPr/>
      <dgm:t>
        <a:bodyPr/>
        <a:lstStyle/>
        <a:p>
          <a:endParaRPr lang="en-US"/>
        </a:p>
      </dgm:t>
    </dgm:pt>
    <dgm:pt modelId="{F2C085A4-6BB2-8A46-9681-8AAD9DB2DAF9}" type="sibTrans" cxnId="{5B8B0A63-21F9-DB46-A9BA-669AB473172F}">
      <dgm:prSet/>
      <dgm:spPr/>
      <dgm:t>
        <a:bodyPr/>
        <a:lstStyle/>
        <a:p>
          <a:endParaRPr lang="en-US"/>
        </a:p>
      </dgm:t>
    </dgm:pt>
    <dgm:pt modelId="{2EC8A108-A3A9-A844-9C43-10F87920CAA5}" type="pres">
      <dgm:prSet presAssocID="{45AE005F-C436-A448-A173-D7E7CD96E3A9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ED072F15-0C69-8747-800D-FBAF7F751B0D}" type="pres">
      <dgm:prSet presAssocID="{45AE005F-C436-A448-A173-D7E7CD96E3A9}" presName="Name1" presStyleCnt="0"/>
      <dgm:spPr/>
    </dgm:pt>
    <dgm:pt modelId="{50137D7F-66E2-2047-B48C-81E1CA161105}" type="pres">
      <dgm:prSet presAssocID="{45AE005F-C436-A448-A173-D7E7CD96E3A9}" presName="cycle" presStyleCnt="0"/>
      <dgm:spPr/>
    </dgm:pt>
    <dgm:pt modelId="{464DB274-E87A-5F45-8476-4A877DDD357F}" type="pres">
      <dgm:prSet presAssocID="{45AE005F-C436-A448-A173-D7E7CD96E3A9}" presName="srcNode" presStyleLbl="node1" presStyleIdx="0" presStyleCnt="4"/>
      <dgm:spPr/>
    </dgm:pt>
    <dgm:pt modelId="{E4166A62-DA18-8C4D-A9AC-7465DABD34B0}" type="pres">
      <dgm:prSet presAssocID="{45AE005F-C436-A448-A173-D7E7CD96E3A9}" presName="conn" presStyleLbl="parChTrans1D2" presStyleIdx="0" presStyleCnt="1"/>
      <dgm:spPr/>
      <dgm:t>
        <a:bodyPr/>
        <a:lstStyle/>
        <a:p>
          <a:endParaRPr lang="en-US"/>
        </a:p>
      </dgm:t>
    </dgm:pt>
    <dgm:pt modelId="{DA73E02B-55CC-3343-9CCD-151DF7626575}" type="pres">
      <dgm:prSet presAssocID="{45AE005F-C436-A448-A173-D7E7CD96E3A9}" presName="extraNode" presStyleLbl="node1" presStyleIdx="0" presStyleCnt="4"/>
      <dgm:spPr/>
    </dgm:pt>
    <dgm:pt modelId="{DA4BBFC4-E2E0-4A40-B855-870DFA5BF8FF}" type="pres">
      <dgm:prSet presAssocID="{45AE005F-C436-A448-A173-D7E7CD96E3A9}" presName="dstNode" presStyleLbl="node1" presStyleIdx="0" presStyleCnt="4"/>
      <dgm:spPr/>
    </dgm:pt>
    <dgm:pt modelId="{B19B7553-7B00-284E-8059-DF99B3DD0B15}" type="pres">
      <dgm:prSet presAssocID="{3167BC8F-E42D-EA44-B2AB-70413655BD52}" presName="text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4B7556A-49F4-654D-9697-46B1F2B37626}" type="pres">
      <dgm:prSet presAssocID="{3167BC8F-E42D-EA44-B2AB-70413655BD52}" presName="accent_1" presStyleCnt="0"/>
      <dgm:spPr/>
    </dgm:pt>
    <dgm:pt modelId="{0E623E51-905B-9F4D-A5CB-9A420B1FE3C1}" type="pres">
      <dgm:prSet presAssocID="{3167BC8F-E42D-EA44-B2AB-70413655BD52}" presName="accentRepeatNode" presStyleLbl="solidFgAcc1" presStyleIdx="0" presStyleCnt="4"/>
      <dgm:spPr/>
    </dgm:pt>
    <dgm:pt modelId="{5F774FEE-48BF-E749-8FFB-0EC0432C57F4}" type="pres">
      <dgm:prSet presAssocID="{24F6BB1C-D74F-C645-890A-72B2E4108166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5D46686-B527-274D-AE39-98F0B8E4C04E}" type="pres">
      <dgm:prSet presAssocID="{24F6BB1C-D74F-C645-890A-72B2E4108166}" presName="accent_2" presStyleCnt="0"/>
      <dgm:spPr/>
    </dgm:pt>
    <dgm:pt modelId="{27179C7F-BED7-1D4C-8F22-9C94BBDDC633}" type="pres">
      <dgm:prSet presAssocID="{24F6BB1C-D74F-C645-890A-72B2E4108166}" presName="accentRepeatNode" presStyleLbl="solidFgAcc1" presStyleIdx="1" presStyleCnt="4"/>
      <dgm:spPr/>
    </dgm:pt>
    <dgm:pt modelId="{901F60D1-F705-534D-A400-E5A2D7985977}" type="pres">
      <dgm:prSet presAssocID="{22D27034-9635-7142-A4D5-35AA5EFE779E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EC9EC62-8788-7D4A-8A63-4006CFDCC595}" type="pres">
      <dgm:prSet presAssocID="{22D27034-9635-7142-A4D5-35AA5EFE779E}" presName="accent_3" presStyleCnt="0"/>
      <dgm:spPr/>
    </dgm:pt>
    <dgm:pt modelId="{77F04E94-DB5E-7342-B764-1D525BF4CA41}" type="pres">
      <dgm:prSet presAssocID="{22D27034-9635-7142-A4D5-35AA5EFE779E}" presName="accentRepeatNode" presStyleLbl="solidFgAcc1" presStyleIdx="2" presStyleCnt="4"/>
      <dgm:spPr/>
    </dgm:pt>
    <dgm:pt modelId="{11CBBF4B-62D5-C14F-A6BC-11EE681C03D0}" type="pres">
      <dgm:prSet presAssocID="{5E48B848-CD66-AC41-A3FC-47D5E774ECDE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3001396-B051-D64E-A630-F18D9B3216D0}" type="pres">
      <dgm:prSet presAssocID="{5E48B848-CD66-AC41-A3FC-47D5E774ECDE}" presName="accent_4" presStyleCnt="0"/>
      <dgm:spPr/>
    </dgm:pt>
    <dgm:pt modelId="{C0B0367D-5544-A14C-A2B8-2420EB463CF3}" type="pres">
      <dgm:prSet presAssocID="{5E48B848-CD66-AC41-A3FC-47D5E774ECDE}" presName="accentRepeatNode" presStyleLbl="solidFgAcc1" presStyleIdx="3" presStyleCnt="4"/>
      <dgm:spPr/>
    </dgm:pt>
  </dgm:ptLst>
  <dgm:cxnLst>
    <dgm:cxn modelId="{A7CCE7A6-3DB9-42BD-9816-2879A67DB9F1}" type="presOf" srcId="{24F6BB1C-D74F-C645-890A-72B2E4108166}" destId="{5F774FEE-48BF-E749-8FFB-0EC0432C57F4}" srcOrd="0" destOrd="0" presId="urn:microsoft.com/office/officeart/2008/layout/VerticalCurvedList"/>
    <dgm:cxn modelId="{5B42025E-652D-D445-BAAB-946905FEF299}" srcId="{45AE005F-C436-A448-A173-D7E7CD96E3A9}" destId="{24F6BB1C-D74F-C645-890A-72B2E4108166}" srcOrd="1" destOrd="0" parTransId="{3F63D039-686D-CA43-806C-5041393F84E1}" sibTransId="{F021014D-3533-8F4E-877F-C27E8E2A49E1}"/>
    <dgm:cxn modelId="{2A59DD07-C841-4FC8-A798-6A2CA60E15F5}" type="presOf" srcId="{5E48B848-CD66-AC41-A3FC-47D5E774ECDE}" destId="{11CBBF4B-62D5-C14F-A6BC-11EE681C03D0}" srcOrd="0" destOrd="0" presId="urn:microsoft.com/office/officeart/2008/layout/VerticalCurvedList"/>
    <dgm:cxn modelId="{EFA9A9B4-61E7-4231-B7F7-73B2255DFBD4}" type="presOf" srcId="{3167BC8F-E42D-EA44-B2AB-70413655BD52}" destId="{B19B7553-7B00-284E-8059-DF99B3DD0B15}" srcOrd="0" destOrd="0" presId="urn:microsoft.com/office/officeart/2008/layout/VerticalCurvedList"/>
    <dgm:cxn modelId="{118C3ABE-B8EA-F34A-96E4-7A4663FB82BF}" srcId="{45AE005F-C436-A448-A173-D7E7CD96E3A9}" destId="{3167BC8F-E42D-EA44-B2AB-70413655BD52}" srcOrd="0" destOrd="0" parTransId="{F6CAF8DB-06DB-DF47-9C6D-3CAB2E13DA8F}" sibTransId="{16E2DF7F-12E0-A946-8A3A-BF4392B54838}"/>
    <dgm:cxn modelId="{AC4038E1-CE76-4662-AAF9-D2ADF5D62AAA}" type="presOf" srcId="{45AE005F-C436-A448-A173-D7E7CD96E3A9}" destId="{2EC8A108-A3A9-A844-9C43-10F87920CAA5}" srcOrd="0" destOrd="0" presId="urn:microsoft.com/office/officeart/2008/layout/VerticalCurvedList"/>
    <dgm:cxn modelId="{64E797D0-560A-1F4B-9A80-A8E7B86C2C77}" srcId="{45AE005F-C436-A448-A173-D7E7CD96E3A9}" destId="{22D27034-9635-7142-A4D5-35AA5EFE779E}" srcOrd="2" destOrd="0" parTransId="{49BCBFAF-1338-FE42-B9CD-C80F2AF2FED0}" sibTransId="{E0B8C914-6701-D649-8DCB-6262A3FE9F5F}"/>
    <dgm:cxn modelId="{8234D2D1-8E89-4878-BB1E-7F27F99E1A2D}" type="presOf" srcId="{22D27034-9635-7142-A4D5-35AA5EFE779E}" destId="{901F60D1-F705-534D-A400-E5A2D7985977}" srcOrd="0" destOrd="0" presId="urn:microsoft.com/office/officeart/2008/layout/VerticalCurvedList"/>
    <dgm:cxn modelId="{5B8B0A63-21F9-DB46-A9BA-669AB473172F}" srcId="{45AE005F-C436-A448-A173-D7E7CD96E3A9}" destId="{5E48B848-CD66-AC41-A3FC-47D5E774ECDE}" srcOrd="3" destOrd="0" parTransId="{F108E149-5FCB-8B4F-BECB-15DAD7C476E2}" sibTransId="{F2C085A4-6BB2-8A46-9681-8AAD9DB2DAF9}"/>
    <dgm:cxn modelId="{1B8F7734-E8EC-46BF-97EB-0C65544BF687}" type="presOf" srcId="{16E2DF7F-12E0-A946-8A3A-BF4392B54838}" destId="{E4166A62-DA18-8C4D-A9AC-7465DABD34B0}" srcOrd="0" destOrd="0" presId="urn:microsoft.com/office/officeart/2008/layout/VerticalCurvedList"/>
    <dgm:cxn modelId="{977CA376-F45B-4A7B-A977-EB8AC5AFBB0F}" type="presParOf" srcId="{2EC8A108-A3A9-A844-9C43-10F87920CAA5}" destId="{ED072F15-0C69-8747-800D-FBAF7F751B0D}" srcOrd="0" destOrd="0" presId="urn:microsoft.com/office/officeart/2008/layout/VerticalCurvedList"/>
    <dgm:cxn modelId="{DC01F51D-31BF-409E-8B54-315C274D7514}" type="presParOf" srcId="{ED072F15-0C69-8747-800D-FBAF7F751B0D}" destId="{50137D7F-66E2-2047-B48C-81E1CA161105}" srcOrd="0" destOrd="0" presId="urn:microsoft.com/office/officeart/2008/layout/VerticalCurvedList"/>
    <dgm:cxn modelId="{B1848E48-A290-4FBB-9CBC-0C848DB4ECA4}" type="presParOf" srcId="{50137D7F-66E2-2047-B48C-81E1CA161105}" destId="{464DB274-E87A-5F45-8476-4A877DDD357F}" srcOrd="0" destOrd="0" presId="urn:microsoft.com/office/officeart/2008/layout/VerticalCurvedList"/>
    <dgm:cxn modelId="{09DF8647-539F-43A6-A4F7-F3D1108E2B28}" type="presParOf" srcId="{50137D7F-66E2-2047-B48C-81E1CA161105}" destId="{E4166A62-DA18-8C4D-A9AC-7465DABD34B0}" srcOrd="1" destOrd="0" presId="urn:microsoft.com/office/officeart/2008/layout/VerticalCurvedList"/>
    <dgm:cxn modelId="{38CC4E52-31A8-4DB4-8977-5C866E897C1C}" type="presParOf" srcId="{50137D7F-66E2-2047-B48C-81E1CA161105}" destId="{DA73E02B-55CC-3343-9CCD-151DF7626575}" srcOrd="2" destOrd="0" presId="urn:microsoft.com/office/officeart/2008/layout/VerticalCurvedList"/>
    <dgm:cxn modelId="{C6531CE9-C275-4CAC-81AE-C1B5F8503A46}" type="presParOf" srcId="{50137D7F-66E2-2047-B48C-81E1CA161105}" destId="{DA4BBFC4-E2E0-4A40-B855-870DFA5BF8FF}" srcOrd="3" destOrd="0" presId="urn:microsoft.com/office/officeart/2008/layout/VerticalCurvedList"/>
    <dgm:cxn modelId="{5F7B3DC0-E8C3-49E9-AA00-B0E378DEA5B7}" type="presParOf" srcId="{ED072F15-0C69-8747-800D-FBAF7F751B0D}" destId="{B19B7553-7B00-284E-8059-DF99B3DD0B15}" srcOrd="1" destOrd="0" presId="urn:microsoft.com/office/officeart/2008/layout/VerticalCurvedList"/>
    <dgm:cxn modelId="{4E08E125-1B50-4296-B3A8-E570D3BCC04D}" type="presParOf" srcId="{ED072F15-0C69-8747-800D-FBAF7F751B0D}" destId="{34B7556A-49F4-654D-9697-46B1F2B37626}" srcOrd="2" destOrd="0" presId="urn:microsoft.com/office/officeart/2008/layout/VerticalCurvedList"/>
    <dgm:cxn modelId="{903579DE-7F44-4F0B-9787-C306279BA392}" type="presParOf" srcId="{34B7556A-49F4-654D-9697-46B1F2B37626}" destId="{0E623E51-905B-9F4D-A5CB-9A420B1FE3C1}" srcOrd="0" destOrd="0" presId="urn:microsoft.com/office/officeart/2008/layout/VerticalCurvedList"/>
    <dgm:cxn modelId="{4636E6A2-C8DA-4E11-BB83-4A99ABAC378F}" type="presParOf" srcId="{ED072F15-0C69-8747-800D-FBAF7F751B0D}" destId="{5F774FEE-48BF-E749-8FFB-0EC0432C57F4}" srcOrd="3" destOrd="0" presId="urn:microsoft.com/office/officeart/2008/layout/VerticalCurvedList"/>
    <dgm:cxn modelId="{4017C9F7-4141-4319-9A4C-20259FF8EDEE}" type="presParOf" srcId="{ED072F15-0C69-8747-800D-FBAF7F751B0D}" destId="{B5D46686-B527-274D-AE39-98F0B8E4C04E}" srcOrd="4" destOrd="0" presId="urn:microsoft.com/office/officeart/2008/layout/VerticalCurvedList"/>
    <dgm:cxn modelId="{DC93BDE6-0ED8-4004-A0EC-0F80AAE93646}" type="presParOf" srcId="{B5D46686-B527-274D-AE39-98F0B8E4C04E}" destId="{27179C7F-BED7-1D4C-8F22-9C94BBDDC633}" srcOrd="0" destOrd="0" presId="urn:microsoft.com/office/officeart/2008/layout/VerticalCurvedList"/>
    <dgm:cxn modelId="{6DE95885-8D57-4223-A4A2-5A0F62B91F6C}" type="presParOf" srcId="{ED072F15-0C69-8747-800D-FBAF7F751B0D}" destId="{901F60D1-F705-534D-A400-E5A2D7985977}" srcOrd="5" destOrd="0" presId="urn:microsoft.com/office/officeart/2008/layout/VerticalCurvedList"/>
    <dgm:cxn modelId="{90F28C4B-E587-43E4-8BD7-6CF9DEC5772A}" type="presParOf" srcId="{ED072F15-0C69-8747-800D-FBAF7F751B0D}" destId="{CEC9EC62-8788-7D4A-8A63-4006CFDCC595}" srcOrd="6" destOrd="0" presId="urn:microsoft.com/office/officeart/2008/layout/VerticalCurvedList"/>
    <dgm:cxn modelId="{0D676806-8293-4BAA-859E-F9E4B37742EC}" type="presParOf" srcId="{CEC9EC62-8788-7D4A-8A63-4006CFDCC595}" destId="{77F04E94-DB5E-7342-B764-1D525BF4CA41}" srcOrd="0" destOrd="0" presId="urn:microsoft.com/office/officeart/2008/layout/VerticalCurvedList"/>
    <dgm:cxn modelId="{5656CC43-57BC-4508-97F2-BEDD3096F1C2}" type="presParOf" srcId="{ED072F15-0C69-8747-800D-FBAF7F751B0D}" destId="{11CBBF4B-62D5-C14F-A6BC-11EE681C03D0}" srcOrd="7" destOrd="0" presId="urn:microsoft.com/office/officeart/2008/layout/VerticalCurvedList"/>
    <dgm:cxn modelId="{2D921425-4F94-4C02-969E-65012F9DB286}" type="presParOf" srcId="{ED072F15-0C69-8747-800D-FBAF7F751B0D}" destId="{A3001396-B051-D64E-A630-F18D9B3216D0}" srcOrd="8" destOrd="0" presId="urn:microsoft.com/office/officeart/2008/layout/VerticalCurvedList"/>
    <dgm:cxn modelId="{F016ACC4-7786-404B-88CB-CA3BACD0AD7B}" type="presParOf" srcId="{A3001396-B051-D64E-A630-F18D9B3216D0}" destId="{C0B0367D-5544-A14C-A2B8-2420EB463CF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20E97C9-EAA4-E94D-8F0E-E4FCA22FA1A9}" type="doc">
      <dgm:prSet loTypeId="urn:microsoft.com/office/officeart/2005/8/layout/default#5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DCB3FD0-299E-104D-B6DD-6A2F557CFCCC}">
      <dgm:prSet phldrT="[Text]" custT="1"/>
      <dgm:spPr/>
      <dgm:t>
        <a:bodyPr/>
        <a:lstStyle/>
        <a:p>
          <a:r>
            <a:rPr lang="en-US" sz="2800" dirty="0" smtClean="0"/>
            <a:t>Acquire</a:t>
          </a:r>
          <a:endParaRPr lang="en-US" sz="2800" dirty="0"/>
        </a:p>
      </dgm:t>
    </dgm:pt>
    <dgm:pt modelId="{28C2D00A-97E1-284B-A86D-1722566ABB7F}" type="parTrans" cxnId="{C3C7DFDC-CD15-4B42-B13B-409465299CF0}">
      <dgm:prSet/>
      <dgm:spPr/>
      <dgm:t>
        <a:bodyPr/>
        <a:lstStyle/>
        <a:p>
          <a:endParaRPr lang="en-US"/>
        </a:p>
      </dgm:t>
    </dgm:pt>
    <dgm:pt modelId="{627C67CA-1928-E34B-A240-7A0F0243705E}" type="sibTrans" cxnId="{C3C7DFDC-CD15-4B42-B13B-409465299CF0}">
      <dgm:prSet/>
      <dgm:spPr/>
      <dgm:t>
        <a:bodyPr/>
        <a:lstStyle/>
        <a:p>
          <a:endParaRPr lang="en-US"/>
        </a:p>
      </dgm:t>
    </dgm:pt>
    <dgm:pt modelId="{C5620971-92B1-AF46-BB2A-E8B8B21679A3}" type="pres">
      <dgm:prSet presAssocID="{020E97C9-EAA4-E94D-8F0E-E4FCA22FA1A9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02530FC-C83A-DF40-ABA2-8AE2DEA126DF}" type="pres">
      <dgm:prSet presAssocID="{5DCB3FD0-299E-104D-B6DD-6A2F557CFCCC}" presName="node" presStyleLbl="node1" presStyleIdx="0" presStyleCnt="1" custScaleX="27006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D9E7415-1EF8-46CC-B420-F405B671C212}" type="presOf" srcId="{5DCB3FD0-299E-104D-B6DD-6A2F557CFCCC}" destId="{902530FC-C83A-DF40-ABA2-8AE2DEA126DF}" srcOrd="0" destOrd="0" presId="urn:microsoft.com/office/officeart/2005/8/layout/default#5"/>
    <dgm:cxn modelId="{C3C7DFDC-CD15-4B42-B13B-409465299CF0}" srcId="{020E97C9-EAA4-E94D-8F0E-E4FCA22FA1A9}" destId="{5DCB3FD0-299E-104D-B6DD-6A2F557CFCCC}" srcOrd="0" destOrd="0" parTransId="{28C2D00A-97E1-284B-A86D-1722566ABB7F}" sibTransId="{627C67CA-1928-E34B-A240-7A0F0243705E}"/>
    <dgm:cxn modelId="{05CBF8E3-CAA9-46CD-AB2D-B853F787CED4}" type="presOf" srcId="{020E97C9-EAA4-E94D-8F0E-E4FCA22FA1A9}" destId="{C5620971-92B1-AF46-BB2A-E8B8B21679A3}" srcOrd="0" destOrd="0" presId="urn:microsoft.com/office/officeart/2005/8/layout/default#5"/>
    <dgm:cxn modelId="{FDF73A40-D78D-4032-BB8C-3A55664E6441}" type="presParOf" srcId="{C5620971-92B1-AF46-BB2A-E8B8B21679A3}" destId="{902530FC-C83A-DF40-ABA2-8AE2DEA126DF}" srcOrd="0" destOrd="0" presId="urn:microsoft.com/office/officeart/2005/8/layout/default#5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20E97C9-EAA4-E94D-8F0E-E4FCA22FA1A9}" type="doc">
      <dgm:prSet loTypeId="urn:microsoft.com/office/officeart/2005/8/layout/default#6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DCB3FD0-299E-104D-B6DD-6A2F557CFCCC}">
      <dgm:prSet phldrT="[Text]" custT="1"/>
      <dgm:spPr/>
      <dgm:t>
        <a:bodyPr/>
        <a:lstStyle/>
        <a:p>
          <a:r>
            <a:rPr lang="en-US" sz="2800" dirty="0" smtClean="0"/>
            <a:t>Strategic Alliance</a:t>
          </a:r>
          <a:endParaRPr lang="en-US" sz="2800" dirty="0"/>
        </a:p>
      </dgm:t>
    </dgm:pt>
    <dgm:pt modelId="{28C2D00A-97E1-284B-A86D-1722566ABB7F}" type="parTrans" cxnId="{C3C7DFDC-CD15-4B42-B13B-409465299CF0}">
      <dgm:prSet/>
      <dgm:spPr/>
      <dgm:t>
        <a:bodyPr/>
        <a:lstStyle/>
        <a:p>
          <a:endParaRPr lang="en-US"/>
        </a:p>
      </dgm:t>
    </dgm:pt>
    <dgm:pt modelId="{627C67CA-1928-E34B-A240-7A0F0243705E}" type="sibTrans" cxnId="{C3C7DFDC-CD15-4B42-B13B-409465299CF0}">
      <dgm:prSet/>
      <dgm:spPr/>
      <dgm:t>
        <a:bodyPr/>
        <a:lstStyle/>
        <a:p>
          <a:endParaRPr lang="en-US"/>
        </a:p>
      </dgm:t>
    </dgm:pt>
    <dgm:pt modelId="{C5620971-92B1-AF46-BB2A-E8B8B21679A3}" type="pres">
      <dgm:prSet presAssocID="{020E97C9-EAA4-E94D-8F0E-E4FCA22FA1A9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02530FC-C83A-DF40-ABA2-8AE2DEA126DF}" type="pres">
      <dgm:prSet presAssocID="{5DCB3FD0-299E-104D-B6DD-6A2F557CFCCC}" presName="node" presStyleLbl="node1" presStyleIdx="0" presStyleCnt="1" custScaleX="28506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032ED94-17B7-4A43-94D5-1BF625CB7CF5}" type="presOf" srcId="{020E97C9-EAA4-E94D-8F0E-E4FCA22FA1A9}" destId="{C5620971-92B1-AF46-BB2A-E8B8B21679A3}" srcOrd="0" destOrd="0" presId="urn:microsoft.com/office/officeart/2005/8/layout/default#6"/>
    <dgm:cxn modelId="{D3150270-C778-4847-930A-85C6DF4FF1E4}" type="presOf" srcId="{5DCB3FD0-299E-104D-B6DD-6A2F557CFCCC}" destId="{902530FC-C83A-DF40-ABA2-8AE2DEA126DF}" srcOrd="0" destOrd="0" presId="urn:microsoft.com/office/officeart/2005/8/layout/default#6"/>
    <dgm:cxn modelId="{C3C7DFDC-CD15-4B42-B13B-409465299CF0}" srcId="{020E97C9-EAA4-E94D-8F0E-E4FCA22FA1A9}" destId="{5DCB3FD0-299E-104D-B6DD-6A2F557CFCCC}" srcOrd="0" destOrd="0" parTransId="{28C2D00A-97E1-284B-A86D-1722566ABB7F}" sibTransId="{627C67CA-1928-E34B-A240-7A0F0243705E}"/>
    <dgm:cxn modelId="{D4B9057B-BB7D-4692-8503-3991CB0B1D41}" type="presParOf" srcId="{C5620971-92B1-AF46-BB2A-E8B8B21679A3}" destId="{902530FC-C83A-DF40-ABA2-8AE2DEA126DF}" srcOrd="0" destOrd="0" presId="urn:microsoft.com/office/officeart/2005/8/layout/default#6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8874B71-808E-E640-AB5B-DC442445387B}" type="doc">
      <dgm:prSet loTypeId="urn:microsoft.com/office/officeart/2008/layout/PictureAccentList" loCatId="" qsTypeId="urn:microsoft.com/office/officeart/2005/8/quickstyle/simple4" qsCatId="simple" csTypeId="urn:microsoft.com/office/officeart/2005/8/colors/accent1_5" csCatId="accent1" phldr="1"/>
      <dgm:spPr/>
      <dgm:t>
        <a:bodyPr/>
        <a:lstStyle/>
        <a:p>
          <a:endParaRPr lang="en-US"/>
        </a:p>
      </dgm:t>
    </dgm:pt>
    <dgm:pt modelId="{6B517EB6-E50C-A74A-9066-BF40B7362F14}" type="pres">
      <dgm:prSet presAssocID="{D8874B71-808E-E640-AB5B-DC442445387B}" presName="layout" presStyleCnt="0">
        <dgm:presLayoutVars>
          <dgm:chMax/>
          <dgm:chPref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</dgm:ptLst>
  <dgm:cxnLst>
    <dgm:cxn modelId="{C67BF4AF-7375-4E75-B6E5-97F81F7B0E08}" type="presOf" srcId="{D8874B71-808E-E640-AB5B-DC442445387B}" destId="{6B517EB6-E50C-A74A-9066-BF40B7362F14}" srcOrd="0" destOrd="0" presId="urn:microsoft.com/office/officeart/2008/layout/PictureAccent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211AA74-82B4-D445-AEF7-14FDC7DAF2AF}" type="doc">
      <dgm:prSet loTypeId="urn:microsoft.com/office/officeart/2005/8/layout/vList6" loCatId="" qsTypeId="urn:microsoft.com/office/officeart/2005/8/quickstyle/simple4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4799DAAB-B1A1-CC4C-82E4-60F291F28313}">
      <dgm:prSet phldrT="[Text]"/>
      <dgm:spPr/>
      <dgm:t>
        <a:bodyPr/>
        <a:lstStyle/>
        <a:p>
          <a:r>
            <a:rPr lang="en-US" dirty="0" smtClean="0"/>
            <a:t>Fix</a:t>
          </a:r>
          <a:endParaRPr lang="en-US" dirty="0"/>
        </a:p>
      </dgm:t>
    </dgm:pt>
    <dgm:pt modelId="{D8213BCE-EDDD-904A-919F-9292E0A82155}" type="parTrans" cxnId="{1DF94C6B-1977-5245-964F-D7D441688FCF}">
      <dgm:prSet/>
      <dgm:spPr/>
      <dgm:t>
        <a:bodyPr/>
        <a:lstStyle/>
        <a:p>
          <a:endParaRPr lang="en-US"/>
        </a:p>
      </dgm:t>
    </dgm:pt>
    <dgm:pt modelId="{0D23FF18-B338-BE42-A0AB-7E472C96FCF2}" type="sibTrans" cxnId="{1DF94C6B-1977-5245-964F-D7D441688FCF}">
      <dgm:prSet/>
      <dgm:spPr/>
      <dgm:t>
        <a:bodyPr/>
        <a:lstStyle/>
        <a:p>
          <a:endParaRPr lang="en-US"/>
        </a:p>
      </dgm:t>
    </dgm:pt>
    <dgm:pt modelId="{0740C364-BC97-A74E-954C-1F2DD8BCC436}">
      <dgm:prSet phldrT="[Text]" custT="1"/>
      <dgm:spPr/>
      <dgm:t>
        <a:bodyPr/>
        <a:lstStyle/>
        <a:p>
          <a:r>
            <a:rPr lang="en-US" sz="1700" dirty="0" smtClean="0"/>
            <a:t>Go private</a:t>
          </a:r>
          <a:endParaRPr lang="en-US" sz="1700" dirty="0"/>
        </a:p>
      </dgm:t>
    </dgm:pt>
    <dgm:pt modelId="{EEC734E0-635B-D24D-876E-CE40E0AC1014}" type="parTrans" cxnId="{A1FD840F-8063-444C-9D2D-F10FDD0CC564}">
      <dgm:prSet/>
      <dgm:spPr/>
      <dgm:t>
        <a:bodyPr/>
        <a:lstStyle/>
        <a:p>
          <a:endParaRPr lang="en-US"/>
        </a:p>
      </dgm:t>
    </dgm:pt>
    <dgm:pt modelId="{2D5ABBAA-8B10-8C48-85BA-091686EFF2A6}" type="sibTrans" cxnId="{A1FD840F-8063-444C-9D2D-F10FDD0CC564}">
      <dgm:prSet/>
      <dgm:spPr/>
      <dgm:t>
        <a:bodyPr/>
        <a:lstStyle/>
        <a:p>
          <a:endParaRPr lang="en-US"/>
        </a:p>
      </dgm:t>
    </dgm:pt>
    <dgm:pt modelId="{26A6A95F-EC16-6747-A0F7-3FF8904679F0}">
      <dgm:prSet phldrT="[Text]"/>
      <dgm:spPr/>
      <dgm:t>
        <a:bodyPr/>
        <a:lstStyle/>
        <a:p>
          <a:r>
            <a:rPr lang="en-US" dirty="0" smtClean="0"/>
            <a:t>Build and Invest</a:t>
          </a:r>
          <a:endParaRPr lang="en-US" dirty="0"/>
        </a:p>
      </dgm:t>
    </dgm:pt>
    <dgm:pt modelId="{1A04B025-C683-9B4D-9894-175CCB0E2C6B}" type="parTrans" cxnId="{D1D6E090-0445-E54C-9642-82724ED569DC}">
      <dgm:prSet/>
      <dgm:spPr/>
      <dgm:t>
        <a:bodyPr/>
        <a:lstStyle/>
        <a:p>
          <a:endParaRPr lang="en-US"/>
        </a:p>
      </dgm:t>
    </dgm:pt>
    <dgm:pt modelId="{BE9A52C9-2D7E-6042-8D46-E3D4796338F8}" type="sibTrans" cxnId="{D1D6E090-0445-E54C-9642-82724ED569DC}">
      <dgm:prSet/>
      <dgm:spPr/>
      <dgm:t>
        <a:bodyPr/>
        <a:lstStyle/>
        <a:p>
          <a:endParaRPr lang="en-US"/>
        </a:p>
      </dgm:t>
    </dgm:pt>
    <dgm:pt modelId="{9DB50C89-3F9B-1245-8DBA-341966963F15}">
      <dgm:prSet phldrT="[Text]"/>
      <dgm:spPr/>
      <dgm:t>
        <a:bodyPr/>
        <a:lstStyle/>
        <a:p>
          <a:r>
            <a:rPr lang="en-US" dirty="0" smtClean="0"/>
            <a:t>Focus on Enterprise customers</a:t>
          </a:r>
          <a:endParaRPr lang="en-US" dirty="0"/>
        </a:p>
      </dgm:t>
    </dgm:pt>
    <dgm:pt modelId="{2AC40342-6090-DA44-AC14-3D4B548DBF46}" type="parTrans" cxnId="{0FAF402C-F8EF-8243-911E-575609DBF93B}">
      <dgm:prSet/>
      <dgm:spPr/>
      <dgm:t>
        <a:bodyPr/>
        <a:lstStyle/>
        <a:p>
          <a:endParaRPr lang="en-US"/>
        </a:p>
      </dgm:t>
    </dgm:pt>
    <dgm:pt modelId="{0F125C77-CE8E-0B48-A1EC-58FC7DEECBBA}" type="sibTrans" cxnId="{0FAF402C-F8EF-8243-911E-575609DBF93B}">
      <dgm:prSet/>
      <dgm:spPr/>
      <dgm:t>
        <a:bodyPr/>
        <a:lstStyle/>
        <a:p>
          <a:endParaRPr lang="en-US"/>
        </a:p>
      </dgm:t>
    </dgm:pt>
    <dgm:pt modelId="{B1799219-BBC7-1E45-9626-7D8387A67126}">
      <dgm:prSet phldrT="[Text]"/>
      <dgm:spPr/>
      <dgm:t>
        <a:bodyPr/>
        <a:lstStyle/>
        <a:p>
          <a:r>
            <a:rPr lang="en-US" dirty="0" smtClean="0"/>
            <a:t>Benefits</a:t>
          </a:r>
          <a:endParaRPr lang="en-US" dirty="0"/>
        </a:p>
      </dgm:t>
    </dgm:pt>
    <dgm:pt modelId="{9F478688-3D5B-D54D-B2BE-E196925DC12C}" type="parTrans" cxnId="{F988FAE1-6151-6F4E-8E4C-395E21367342}">
      <dgm:prSet/>
      <dgm:spPr/>
      <dgm:t>
        <a:bodyPr/>
        <a:lstStyle/>
        <a:p>
          <a:endParaRPr lang="en-US"/>
        </a:p>
      </dgm:t>
    </dgm:pt>
    <dgm:pt modelId="{20C1E598-E3EB-BC4B-B01C-5FEFCD7B45F0}" type="sibTrans" cxnId="{F988FAE1-6151-6F4E-8E4C-395E21367342}">
      <dgm:prSet/>
      <dgm:spPr/>
      <dgm:t>
        <a:bodyPr/>
        <a:lstStyle/>
        <a:p>
          <a:endParaRPr lang="en-US"/>
        </a:p>
      </dgm:t>
    </dgm:pt>
    <dgm:pt modelId="{8E0E1ACC-FF88-5A43-B74D-425D9E0FCBB5}">
      <dgm:prSet phldrT="[Text]" custT="1"/>
      <dgm:spPr/>
      <dgm:t>
        <a:bodyPr/>
        <a:lstStyle/>
        <a:p>
          <a:r>
            <a:rPr lang="en-US" sz="1700" dirty="0" smtClean="0"/>
            <a:t>Cost Cutting</a:t>
          </a:r>
          <a:endParaRPr lang="en-US" sz="1700" dirty="0"/>
        </a:p>
      </dgm:t>
    </dgm:pt>
    <dgm:pt modelId="{41E7B14A-E0B5-EE40-82ED-90F2EE4D87E5}" type="parTrans" cxnId="{D6CF2533-F03A-AA4B-8E66-35330DE81419}">
      <dgm:prSet/>
      <dgm:spPr/>
      <dgm:t>
        <a:bodyPr/>
        <a:lstStyle/>
        <a:p>
          <a:endParaRPr lang="en-US"/>
        </a:p>
      </dgm:t>
    </dgm:pt>
    <dgm:pt modelId="{93412071-0739-2348-833F-FC206F5698F6}" type="sibTrans" cxnId="{D6CF2533-F03A-AA4B-8E66-35330DE81419}">
      <dgm:prSet/>
      <dgm:spPr/>
      <dgm:t>
        <a:bodyPr/>
        <a:lstStyle/>
        <a:p>
          <a:endParaRPr lang="en-US"/>
        </a:p>
      </dgm:t>
    </dgm:pt>
    <dgm:pt modelId="{37F6045E-1317-A746-9ECB-28B2B089D1C1}">
      <dgm:prSet phldrT="[Text]" custT="1"/>
      <dgm:spPr/>
      <dgm:t>
        <a:bodyPr/>
        <a:lstStyle/>
        <a:p>
          <a:r>
            <a:rPr lang="en-US" sz="1700" dirty="0" smtClean="0"/>
            <a:t>Increased Revenues from New Devices</a:t>
          </a:r>
          <a:endParaRPr lang="en-US" sz="1700" dirty="0"/>
        </a:p>
      </dgm:t>
    </dgm:pt>
    <dgm:pt modelId="{621847E8-FE17-6D45-9D24-79DA92BE84C1}" type="parTrans" cxnId="{49C1C075-890D-2C4F-AFC9-60E31CB3141E}">
      <dgm:prSet/>
      <dgm:spPr/>
      <dgm:t>
        <a:bodyPr/>
        <a:lstStyle/>
        <a:p>
          <a:endParaRPr lang="en-US"/>
        </a:p>
      </dgm:t>
    </dgm:pt>
    <dgm:pt modelId="{C762BD84-772B-034D-8F2E-53B3525BA5B7}" type="sibTrans" cxnId="{49C1C075-890D-2C4F-AFC9-60E31CB3141E}">
      <dgm:prSet/>
      <dgm:spPr/>
      <dgm:t>
        <a:bodyPr/>
        <a:lstStyle/>
        <a:p>
          <a:endParaRPr lang="en-US"/>
        </a:p>
      </dgm:t>
    </dgm:pt>
    <dgm:pt modelId="{D25F446F-DFF0-5D4F-BE96-349C2FCE7C08}">
      <dgm:prSet phldrT="[Text]" custT="1"/>
      <dgm:spPr/>
      <dgm:t>
        <a:bodyPr/>
        <a:lstStyle/>
        <a:p>
          <a:r>
            <a:rPr lang="en-US" sz="1700" dirty="0" smtClean="0"/>
            <a:t>Develop IOS / Android solutions</a:t>
          </a:r>
          <a:endParaRPr lang="en-US" sz="1700" dirty="0"/>
        </a:p>
      </dgm:t>
    </dgm:pt>
    <dgm:pt modelId="{9946E526-4FF2-4F48-A8ED-530D6288F2F9}" type="parTrans" cxnId="{40D7A5A4-5A05-4046-A8BB-7F31015DC1F6}">
      <dgm:prSet/>
      <dgm:spPr/>
      <dgm:t>
        <a:bodyPr/>
        <a:lstStyle/>
        <a:p>
          <a:endParaRPr lang="en-US"/>
        </a:p>
      </dgm:t>
    </dgm:pt>
    <dgm:pt modelId="{28A1D8BD-263E-9941-8B11-41CCB1BCE483}" type="sibTrans" cxnId="{40D7A5A4-5A05-4046-A8BB-7F31015DC1F6}">
      <dgm:prSet/>
      <dgm:spPr/>
      <dgm:t>
        <a:bodyPr/>
        <a:lstStyle/>
        <a:p>
          <a:endParaRPr lang="en-US"/>
        </a:p>
      </dgm:t>
    </dgm:pt>
    <dgm:pt modelId="{1D499008-B7CD-814F-9B10-F3AC43F26D44}">
      <dgm:prSet phldrT="[Text]" custT="1"/>
      <dgm:spPr/>
      <dgm:t>
        <a:bodyPr/>
        <a:lstStyle/>
        <a:p>
          <a:endParaRPr lang="en-US" sz="1600" dirty="0"/>
        </a:p>
      </dgm:t>
    </dgm:pt>
    <dgm:pt modelId="{64C076D9-87DD-CD45-A2BA-9C9F2916F512}" type="parTrans" cxnId="{4AB2D174-C958-5A42-855D-EF3249113BC8}">
      <dgm:prSet/>
      <dgm:spPr/>
      <dgm:t>
        <a:bodyPr/>
        <a:lstStyle/>
        <a:p>
          <a:endParaRPr lang="en-US"/>
        </a:p>
      </dgm:t>
    </dgm:pt>
    <dgm:pt modelId="{60411EEB-D308-D84B-9B13-B86CD61DD950}" type="sibTrans" cxnId="{4AB2D174-C958-5A42-855D-EF3249113BC8}">
      <dgm:prSet/>
      <dgm:spPr/>
      <dgm:t>
        <a:bodyPr/>
        <a:lstStyle/>
        <a:p>
          <a:endParaRPr lang="en-US"/>
        </a:p>
      </dgm:t>
    </dgm:pt>
    <dgm:pt modelId="{19B6A299-C952-0C49-B41B-7CA8F3D46AE1}">
      <dgm:prSet phldrT="[Text]" custT="1"/>
      <dgm:spPr/>
      <dgm:t>
        <a:bodyPr/>
        <a:lstStyle/>
        <a:p>
          <a:endParaRPr lang="en-US" sz="1600" dirty="0"/>
        </a:p>
      </dgm:t>
    </dgm:pt>
    <dgm:pt modelId="{FE93636B-6324-8844-84A7-8AA83B3BAA48}" type="parTrans" cxnId="{6403864E-F4AC-184F-A7DC-D8127AA4BE12}">
      <dgm:prSet/>
      <dgm:spPr/>
      <dgm:t>
        <a:bodyPr/>
        <a:lstStyle/>
        <a:p>
          <a:endParaRPr lang="en-US"/>
        </a:p>
      </dgm:t>
    </dgm:pt>
    <dgm:pt modelId="{D5C2AEFD-9D54-FC46-9843-B72437F7FA9E}" type="sibTrans" cxnId="{6403864E-F4AC-184F-A7DC-D8127AA4BE12}">
      <dgm:prSet/>
      <dgm:spPr/>
      <dgm:t>
        <a:bodyPr/>
        <a:lstStyle/>
        <a:p>
          <a:endParaRPr lang="en-US"/>
        </a:p>
      </dgm:t>
    </dgm:pt>
    <dgm:pt modelId="{B692854E-D89C-FB4E-840A-96369175E569}">
      <dgm:prSet phldrT="[Text]" custT="1"/>
      <dgm:spPr/>
      <dgm:t>
        <a:bodyPr/>
        <a:lstStyle/>
        <a:p>
          <a:endParaRPr lang="en-US" sz="1600" dirty="0"/>
        </a:p>
      </dgm:t>
    </dgm:pt>
    <dgm:pt modelId="{52E3FA48-C4F2-5745-AA68-7BA432A4C6DF}" type="parTrans" cxnId="{09AF944C-929F-F544-AE16-56E56A81C3A1}">
      <dgm:prSet/>
      <dgm:spPr/>
      <dgm:t>
        <a:bodyPr/>
        <a:lstStyle/>
        <a:p>
          <a:endParaRPr lang="en-US"/>
        </a:p>
      </dgm:t>
    </dgm:pt>
    <dgm:pt modelId="{8BE65100-D6DB-AC4B-9ABD-6011642D5E8D}" type="sibTrans" cxnId="{09AF944C-929F-F544-AE16-56E56A81C3A1}">
      <dgm:prSet/>
      <dgm:spPr/>
      <dgm:t>
        <a:bodyPr/>
        <a:lstStyle/>
        <a:p>
          <a:endParaRPr lang="en-US"/>
        </a:p>
      </dgm:t>
    </dgm:pt>
    <dgm:pt modelId="{A7ACCA0C-394D-BC4B-8EAA-86032359F50B}">
      <dgm:prSet phldrT="[Text]" custT="1"/>
      <dgm:spPr/>
      <dgm:t>
        <a:bodyPr/>
        <a:lstStyle/>
        <a:p>
          <a:r>
            <a:rPr lang="en-US" sz="1700" dirty="0" smtClean="0"/>
            <a:t>Liquidate unwanted Assets and Patents</a:t>
          </a:r>
          <a:endParaRPr lang="en-US" sz="1700" dirty="0"/>
        </a:p>
      </dgm:t>
    </dgm:pt>
    <dgm:pt modelId="{9A68FA11-0817-A243-9357-B0770007A360}" type="parTrans" cxnId="{C2803E94-7C0F-1043-A03A-30CB13564A42}">
      <dgm:prSet/>
      <dgm:spPr/>
      <dgm:t>
        <a:bodyPr/>
        <a:lstStyle/>
        <a:p>
          <a:endParaRPr lang="en-US"/>
        </a:p>
      </dgm:t>
    </dgm:pt>
    <dgm:pt modelId="{55EF4D53-37A2-E848-89FB-3ACDE5E9E47F}" type="sibTrans" cxnId="{C2803E94-7C0F-1043-A03A-30CB13564A42}">
      <dgm:prSet/>
      <dgm:spPr/>
      <dgm:t>
        <a:bodyPr/>
        <a:lstStyle/>
        <a:p>
          <a:endParaRPr lang="en-US"/>
        </a:p>
      </dgm:t>
    </dgm:pt>
    <dgm:pt modelId="{2855105A-5681-9049-85C9-A729851ADD12}">
      <dgm:prSet phldrT="[Text]"/>
      <dgm:spPr/>
      <dgm:t>
        <a:bodyPr/>
        <a:lstStyle/>
        <a:p>
          <a:r>
            <a:rPr lang="en-US" dirty="0" smtClean="0"/>
            <a:t>Invest in New Device integration with Android</a:t>
          </a:r>
          <a:endParaRPr lang="en-US" dirty="0"/>
        </a:p>
      </dgm:t>
    </dgm:pt>
    <dgm:pt modelId="{8B0F689D-D412-234B-84D8-63F88ECAB79B}" type="parTrans" cxnId="{38719EF1-1762-AB4C-AFAA-9A9086F50CDC}">
      <dgm:prSet/>
      <dgm:spPr/>
      <dgm:t>
        <a:bodyPr/>
        <a:lstStyle/>
        <a:p>
          <a:endParaRPr lang="en-US"/>
        </a:p>
      </dgm:t>
    </dgm:pt>
    <dgm:pt modelId="{40EFFE1A-5216-5F4D-B7E1-7F57FA9B63A4}" type="sibTrans" cxnId="{38719EF1-1762-AB4C-AFAA-9A9086F50CDC}">
      <dgm:prSet/>
      <dgm:spPr/>
      <dgm:t>
        <a:bodyPr/>
        <a:lstStyle/>
        <a:p>
          <a:endParaRPr lang="en-US"/>
        </a:p>
      </dgm:t>
    </dgm:pt>
    <dgm:pt modelId="{4DD1D6EF-33EF-EC4A-A2ED-7A349BE16124}">
      <dgm:prSet phldrT="[Text]"/>
      <dgm:spPr/>
      <dgm:t>
        <a:bodyPr/>
        <a:lstStyle/>
        <a:p>
          <a:r>
            <a:rPr lang="en-US" dirty="0" smtClean="0"/>
            <a:t>Increase Marketing</a:t>
          </a:r>
          <a:endParaRPr lang="en-US" dirty="0"/>
        </a:p>
      </dgm:t>
    </dgm:pt>
    <dgm:pt modelId="{674EE291-111A-2948-B85C-D46E7D7CEE0E}" type="parTrans" cxnId="{8E1B610E-8A0B-6D45-8888-4D1BBA00281E}">
      <dgm:prSet/>
      <dgm:spPr/>
      <dgm:t>
        <a:bodyPr/>
        <a:lstStyle/>
        <a:p>
          <a:endParaRPr lang="en-US"/>
        </a:p>
      </dgm:t>
    </dgm:pt>
    <dgm:pt modelId="{CC069C87-CF0B-9540-9343-66FF7CF1AC15}" type="sibTrans" cxnId="{8E1B610E-8A0B-6D45-8888-4D1BBA00281E}">
      <dgm:prSet/>
      <dgm:spPr/>
      <dgm:t>
        <a:bodyPr/>
        <a:lstStyle/>
        <a:p>
          <a:endParaRPr lang="en-US"/>
        </a:p>
      </dgm:t>
    </dgm:pt>
    <dgm:pt modelId="{AC3AE9B0-75E6-8746-971A-B50A43280CBE}">
      <dgm:prSet phldrT="[Text]"/>
      <dgm:spPr/>
      <dgm:t>
        <a:bodyPr/>
        <a:lstStyle/>
        <a:p>
          <a:endParaRPr lang="en-US" dirty="0"/>
        </a:p>
      </dgm:t>
    </dgm:pt>
    <dgm:pt modelId="{E7D193BA-434A-0043-9CD4-A0F8660402E6}" type="parTrans" cxnId="{704638DE-0033-4B4D-9AE7-17548B41C54D}">
      <dgm:prSet/>
      <dgm:spPr/>
      <dgm:t>
        <a:bodyPr/>
        <a:lstStyle/>
        <a:p>
          <a:endParaRPr lang="en-US"/>
        </a:p>
      </dgm:t>
    </dgm:pt>
    <dgm:pt modelId="{4DB522BB-7527-AF46-997A-4B0744182D2F}" type="sibTrans" cxnId="{704638DE-0033-4B4D-9AE7-17548B41C54D}">
      <dgm:prSet/>
      <dgm:spPr/>
      <dgm:t>
        <a:bodyPr/>
        <a:lstStyle/>
        <a:p>
          <a:endParaRPr lang="en-US"/>
        </a:p>
      </dgm:t>
    </dgm:pt>
    <dgm:pt modelId="{F338A86F-D8D0-C74C-BBE5-C753B799B2C0}">
      <dgm:prSet phldrT="[Text]"/>
      <dgm:spPr/>
      <dgm:t>
        <a:bodyPr/>
        <a:lstStyle/>
        <a:p>
          <a:endParaRPr lang="en-US" sz="1100" dirty="0"/>
        </a:p>
      </dgm:t>
    </dgm:pt>
    <dgm:pt modelId="{FE32A449-9ADC-1940-976D-573DD0AF3448}" type="parTrans" cxnId="{DD8D5542-893B-0D40-B190-B6ED62492BFA}">
      <dgm:prSet/>
      <dgm:spPr/>
      <dgm:t>
        <a:bodyPr/>
        <a:lstStyle/>
        <a:p>
          <a:endParaRPr lang="en-US"/>
        </a:p>
      </dgm:t>
    </dgm:pt>
    <dgm:pt modelId="{DB9112DC-3C09-A841-9723-165287C5C720}" type="sibTrans" cxnId="{DD8D5542-893B-0D40-B190-B6ED62492BFA}">
      <dgm:prSet/>
      <dgm:spPr/>
      <dgm:t>
        <a:bodyPr/>
        <a:lstStyle/>
        <a:p>
          <a:endParaRPr lang="en-US"/>
        </a:p>
      </dgm:t>
    </dgm:pt>
    <dgm:pt modelId="{3A53CC2A-BCA8-594C-A2CC-12F60835CDA4}">
      <dgm:prSet phldrT="[Text]" custT="1"/>
      <dgm:spPr/>
      <dgm:t>
        <a:bodyPr/>
        <a:lstStyle/>
        <a:p>
          <a:r>
            <a:rPr lang="en-US" sz="1700" dirty="0" smtClean="0"/>
            <a:t>Synergies in Services Revenues from Devices</a:t>
          </a:r>
          <a:endParaRPr lang="en-US" sz="1700" dirty="0"/>
        </a:p>
      </dgm:t>
    </dgm:pt>
    <dgm:pt modelId="{03819DF9-42C4-D048-979F-A36CCC137337}" type="parTrans" cxnId="{19EF135E-BAD4-1B41-8B5B-51BE59A5AA7F}">
      <dgm:prSet/>
      <dgm:spPr/>
      <dgm:t>
        <a:bodyPr/>
        <a:lstStyle/>
        <a:p>
          <a:endParaRPr lang="en-US"/>
        </a:p>
      </dgm:t>
    </dgm:pt>
    <dgm:pt modelId="{D13953DE-F6CA-0047-9C34-C4827999F995}" type="sibTrans" cxnId="{19EF135E-BAD4-1B41-8B5B-51BE59A5AA7F}">
      <dgm:prSet/>
      <dgm:spPr/>
      <dgm:t>
        <a:bodyPr/>
        <a:lstStyle/>
        <a:p>
          <a:endParaRPr lang="en-US"/>
        </a:p>
      </dgm:t>
    </dgm:pt>
    <dgm:pt modelId="{EF3BC7EF-5617-B749-BC42-62ED34E00161}">
      <dgm:prSet phldrT="[Text]" custT="1"/>
      <dgm:spPr/>
      <dgm:t>
        <a:bodyPr/>
        <a:lstStyle/>
        <a:p>
          <a:r>
            <a:rPr lang="en-US" sz="1700" dirty="0" smtClean="0"/>
            <a:t>Better brand perception</a:t>
          </a:r>
          <a:endParaRPr lang="en-US" sz="1700" dirty="0"/>
        </a:p>
      </dgm:t>
    </dgm:pt>
    <dgm:pt modelId="{461EBB9A-0A5A-5545-924F-79F26D99E68C}" type="parTrans" cxnId="{743E6631-96F9-6647-A59C-40C7702EEED9}">
      <dgm:prSet/>
      <dgm:spPr/>
      <dgm:t>
        <a:bodyPr/>
        <a:lstStyle/>
        <a:p>
          <a:endParaRPr lang="en-US"/>
        </a:p>
      </dgm:t>
    </dgm:pt>
    <dgm:pt modelId="{B60FFEDE-4477-0546-9C16-F9DCCDDBE6F0}" type="sibTrans" cxnId="{743E6631-96F9-6647-A59C-40C7702EEED9}">
      <dgm:prSet/>
      <dgm:spPr/>
      <dgm:t>
        <a:bodyPr/>
        <a:lstStyle/>
        <a:p>
          <a:endParaRPr lang="en-US"/>
        </a:p>
      </dgm:t>
    </dgm:pt>
    <dgm:pt modelId="{FCAF81D7-AF98-CA45-B8D1-C5356F756704}">
      <dgm:prSet phldrT="[Text]"/>
      <dgm:spPr/>
      <dgm:t>
        <a:bodyPr/>
        <a:lstStyle/>
        <a:p>
          <a:endParaRPr lang="en-US" sz="1100" dirty="0"/>
        </a:p>
      </dgm:t>
    </dgm:pt>
    <dgm:pt modelId="{DAD1D26E-535B-2648-B350-7289987149C8}" type="parTrans" cxnId="{DF6A7613-C37F-874D-9885-5DBB74878671}">
      <dgm:prSet/>
      <dgm:spPr/>
      <dgm:t>
        <a:bodyPr/>
        <a:lstStyle/>
        <a:p>
          <a:endParaRPr lang="en-US"/>
        </a:p>
      </dgm:t>
    </dgm:pt>
    <dgm:pt modelId="{A334F4B2-193F-2D48-8F41-814A498C5798}" type="sibTrans" cxnId="{DF6A7613-C37F-874D-9885-5DBB74878671}">
      <dgm:prSet/>
      <dgm:spPr/>
      <dgm:t>
        <a:bodyPr/>
        <a:lstStyle/>
        <a:p>
          <a:endParaRPr lang="en-US"/>
        </a:p>
      </dgm:t>
    </dgm:pt>
    <dgm:pt modelId="{A3087499-23BE-7047-8983-CD5DA81EE9DE}">
      <dgm:prSet phldrT="[Text]"/>
      <dgm:spPr/>
      <dgm:t>
        <a:bodyPr/>
        <a:lstStyle/>
        <a:p>
          <a:endParaRPr lang="en-US" sz="1100" dirty="0"/>
        </a:p>
      </dgm:t>
    </dgm:pt>
    <dgm:pt modelId="{7186A668-34F6-194E-9D32-F650ED429B45}" type="parTrans" cxnId="{62B774DF-1301-D54C-B1C3-E4FFB18B45FA}">
      <dgm:prSet/>
      <dgm:spPr/>
      <dgm:t>
        <a:bodyPr/>
        <a:lstStyle/>
        <a:p>
          <a:endParaRPr lang="en-US"/>
        </a:p>
      </dgm:t>
    </dgm:pt>
    <dgm:pt modelId="{8453BD14-32FB-C84C-826F-54D31BF6B189}" type="sibTrans" cxnId="{62B774DF-1301-D54C-B1C3-E4FFB18B45FA}">
      <dgm:prSet/>
      <dgm:spPr/>
      <dgm:t>
        <a:bodyPr/>
        <a:lstStyle/>
        <a:p>
          <a:endParaRPr lang="en-US"/>
        </a:p>
      </dgm:t>
    </dgm:pt>
    <dgm:pt modelId="{53D98DB6-78F4-5943-8FEA-49B9C0C28852}">
      <dgm:prSet phldrT="[Text]" custT="1"/>
      <dgm:spPr/>
      <dgm:t>
        <a:bodyPr/>
        <a:lstStyle/>
        <a:p>
          <a:r>
            <a:rPr lang="en-US" sz="1700" dirty="0" smtClean="0"/>
            <a:t>Niche player with Net Profits</a:t>
          </a:r>
          <a:endParaRPr lang="en-US" sz="1700" dirty="0"/>
        </a:p>
      </dgm:t>
    </dgm:pt>
    <dgm:pt modelId="{E6882CE6-1C80-674C-B254-E3EEEFB1251F}" type="parTrans" cxnId="{FECBB643-4F33-2943-9B94-0F36DFBC6214}">
      <dgm:prSet/>
      <dgm:spPr/>
      <dgm:t>
        <a:bodyPr/>
        <a:lstStyle/>
        <a:p>
          <a:endParaRPr lang="en-US"/>
        </a:p>
      </dgm:t>
    </dgm:pt>
    <dgm:pt modelId="{68BD4BB7-7511-FD45-93F6-E578C658DB14}" type="sibTrans" cxnId="{FECBB643-4F33-2943-9B94-0F36DFBC6214}">
      <dgm:prSet/>
      <dgm:spPr/>
      <dgm:t>
        <a:bodyPr/>
        <a:lstStyle/>
        <a:p>
          <a:endParaRPr lang="en-US"/>
        </a:p>
      </dgm:t>
    </dgm:pt>
    <dgm:pt modelId="{E6D2B939-082E-5549-93FD-F7B26A916233}" type="pres">
      <dgm:prSet presAssocID="{B211AA74-82B4-D445-AEF7-14FDC7DAF2AF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C8D1DD5B-D6C5-3C42-9C52-315FFCBEDCFB}" type="pres">
      <dgm:prSet presAssocID="{4799DAAB-B1A1-CC4C-82E4-60F291F28313}" presName="linNode" presStyleCnt="0"/>
      <dgm:spPr/>
    </dgm:pt>
    <dgm:pt modelId="{63C99153-E32F-0141-9790-7DAFBBF28D1D}" type="pres">
      <dgm:prSet presAssocID="{4799DAAB-B1A1-CC4C-82E4-60F291F28313}" presName="parentShp" presStyleLbl="node1" presStyleIdx="0" presStyleCnt="3" custScaleX="7588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73D942A-DCEE-DA49-A276-DD368AC45642}" type="pres">
      <dgm:prSet presAssocID="{4799DAAB-B1A1-CC4C-82E4-60F291F28313}" presName="childShp" presStyleLbl="b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FE92932-4A9F-3E42-91C6-B5E21D9D59C0}" type="pres">
      <dgm:prSet presAssocID="{0D23FF18-B338-BE42-A0AB-7E472C96FCF2}" presName="spacing" presStyleCnt="0"/>
      <dgm:spPr/>
    </dgm:pt>
    <dgm:pt modelId="{A6D17931-A462-CC42-B077-87D737C7C020}" type="pres">
      <dgm:prSet presAssocID="{26A6A95F-EC16-6747-A0F7-3FF8904679F0}" presName="linNode" presStyleCnt="0"/>
      <dgm:spPr/>
    </dgm:pt>
    <dgm:pt modelId="{87940271-5C54-B447-9B57-FF73C0F06F09}" type="pres">
      <dgm:prSet presAssocID="{26A6A95F-EC16-6747-A0F7-3FF8904679F0}" presName="parentShp" presStyleLbl="node1" presStyleIdx="1" presStyleCnt="3" custScaleX="7604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DBCC88-F131-FA46-8963-3AD65A26C5B8}" type="pres">
      <dgm:prSet presAssocID="{26A6A95F-EC16-6747-A0F7-3FF8904679F0}" presName="childShp" presStyleLbl="b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8FE2AF-2B88-EE48-9BF8-BC398AB85C2B}" type="pres">
      <dgm:prSet presAssocID="{BE9A52C9-2D7E-6042-8D46-E3D4796338F8}" presName="spacing" presStyleCnt="0"/>
      <dgm:spPr/>
    </dgm:pt>
    <dgm:pt modelId="{40209312-8F24-DF4C-A05B-AC51A2EA31F6}" type="pres">
      <dgm:prSet presAssocID="{B1799219-BBC7-1E45-9626-7D8387A67126}" presName="linNode" presStyleCnt="0"/>
      <dgm:spPr/>
    </dgm:pt>
    <dgm:pt modelId="{77FBFEFF-FD75-D647-9E1C-3D0E4DD5C263}" type="pres">
      <dgm:prSet presAssocID="{B1799219-BBC7-1E45-9626-7D8387A67126}" presName="parentShp" presStyleLbl="node1" presStyleIdx="2" presStyleCnt="3" custScaleX="7588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842ABDA-D047-5D41-BB29-CAD0C7BE708B}" type="pres">
      <dgm:prSet presAssocID="{B1799219-BBC7-1E45-9626-7D8387A67126}" presName="childShp" presStyleLbl="b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FAF402C-F8EF-8243-911E-575609DBF93B}" srcId="{26A6A95F-EC16-6747-A0F7-3FF8904679F0}" destId="{9DB50C89-3F9B-1245-8DBA-341966963F15}" srcOrd="1" destOrd="0" parTransId="{2AC40342-6090-DA44-AC14-3D4B548DBF46}" sibTransId="{0F125C77-CE8E-0B48-A1EC-58FC7DEECBBA}"/>
    <dgm:cxn modelId="{B3D84C76-A87E-4A3A-AE8D-C3F2591DF7F8}" type="presOf" srcId="{2855105A-5681-9049-85C9-A729851ADD12}" destId="{BDDBCC88-F131-FA46-8963-3AD65A26C5B8}" srcOrd="0" destOrd="2" presId="urn:microsoft.com/office/officeart/2005/8/layout/vList6"/>
    <dgm:cxn modelId="{C78B28A9-B37E-44AA-BAF5-E922AD70773F}" type="presOf" srcId="{37F6045E-1317-A746-9ECB-28B2B089D1C1}" destId="{6842ABDA-D047-5D41-BB29-CAD0C7BE708B}" srcOrd="0" destOrd="0" presId="urn:microsoft.com/office/officeart/2005/8/layout/vList6"/>
    <dgm:cxn modelId="{6852BA8D-3363-4229-ACD9-4C7F275D1F5B}" type="presOf" srcId="{0740C364-BC97-A74E-954C-1F2DD8BCC436}" destId="{873D942A-DCEE-DA49-A276-DD368AC45642}" srcOrd="0" destOrd="0" presId="urn:microsoft.com/office/officeart/2005/8/layout/vList6"/>
    <dgm:cxn modelId="{6403864E-F4AC-184F-A7DC-D8127AA4BE12}" srcId="{4799DAAB-B1A1-CC4C-82E4-60F291F28313}" destId="{19B6A299-C952-0C49-B41B-7CA8F3D46AE1}" srcOrd="5" destOrd="0" parTransId="{FE93636B-6324-8844-84A7-8AA83B3BAA48}" sibTransId="{D5C2AEFD-9D54-FC46-9843-B72437F7FA9E}"/>
    <dgm:cxn modelId="{5284F598-96F3-49F9-9FE1-CBDEF350B04C}" type="presOf" srcId="{F338A86F-D8D0-C74C-BBE5-C753B799B2C0}" destId="{6842ABDA-D047-5D41-BB29-CAD0C7BE708B}" srcOrd="0" destOrd="6" presId="urn:microsoft.com/office/officeart/2005/8/layout/vList6"/>
    <dgm:cxn modelId="{8E1B610E-8A0B-6D45-8888-4D1BBA00281E}" srcId="{26A6A95F-EC16-6747-A0F7-3FF8904679F0}" destId="{4DD1D6EF-33EF-EC4A-A2ED-7A349BE16124}" srcOrd="3" destOrd="0" parTransId="{674EE291-111A-2948-B85C-D46E7D7CEE0E}" sibTransId="{CC069C87-CF0B-9540-9343-66FF7CF1AC15}"/>
    <dgm:cxn modelId="{43E3D345-1F0F-477C-9C84-F0B70220E7DD}" type="presOf" srcId="{53D98DB6-78F4-5943-8FEA-49B9C0C28852}" destId="{6842ABDA-D047-5D41-BB29-CAD0C7BE708B}" srcOrd="0" destOrd="3" presId="urn:microsoft.com/office/officeart/2005/8/layout/vList6"/>
    <dgm:cxn modelId="{CAED56D7-6A81-49D2-8BDE-FE807B52C68D}" type="presOf" srcId="{D25F446F-DFF0-5D4F-BE96-349C2FCE7C08}" destId="{873D942A-DCEE-DA49-A276-DD368AC45642}" srcOrd="0" destOrd="2" presId="urn:microsoft.com/office/officeart/2005/8/layout/vList6"/>
    <dgm:cxn modelId="{050D2786-48A6-40A2-A623-79B65CB83A96}" type="presOf" srcId="{EF3BC7EF-5617-B749-BC42-62ED34E00161}" destId="{6842ABDA-D047-5D41-BB29-CAD0C7BE708B}" srcOrd="0" destOrd="2" presId="urn:microsoft.com/office/officeart/2005/8/layout/vList6"/>
    <dgm:cxn modelId="{62B774DF-1301-D54C-B1C3-E4FFB18B45FA}" srcId="{B1799219-BBC7-1E45-9626-7D8387A67126}" destId="{A3087499-23BE-7047-8983-CD5DA81EE9DE}" srcOrd="4" destOrd="0" parTransId="{7186A668-34F6-194E-9D32-F650ED429B45}" sibTransId="{8453BD14-32FB-C84C-826F-54D31BF6B189}"/>
    <dgm:cxn modelId="{4AB2D174-C958-5A42-855D-EF3249113BC8}" srcId="{4799DAAB-B1A1-CC4C-82E4-60F291F28313}" destId="{1D499008-B7CD-814F-9B10-F3AC43F26D44}" srcOrd="6" destOrd="0" parTransId="{64C076D9-87DD-CD45-A2BA-9C9F2916F512}" sibTransId="{60411EEB-D308-D84B-9B13-B86CD61DD950}"/>
    <dgm:cxn modelId="{C9377659-5D8F-492D-9E90-9F614D06A48A}" type="presOf" srcId="{A3087499-23BE-7047-8983-CD5DA81EE9DE}" destId="{6842ABDA-D047-5D41-BB29-CAD0C7BE708B}" srcOrd="0" destOrd="4" presId="urn:microsoft.com/office/officeart/2005/8/layout/vList6"/>
    <dgm:cxn modelId="{FECBB643-4F33-2943-9B94-0F36DFBC6214}" srcId="{B1799219-BBC7-1E45-9626-7D8387A67126}" destId="{53D98DB6-78F4-5943-8FEA-49B9C0C28852}" srcOrd="3" destOrd="0" parTransId="{E6882CE6-1C80-674C-B254-E3EEEFB1251F}" sibTransId="{68BD4BB7-7511-FD45-93F6-E578C658DB14}"/>
    <dgm:cxn modelId="{19EF135E-BAD4-1B41-8B5B-51BE59A5AA7F}" srcId="{B1799219-BBC7-1E45-9626-7D8387A67126}" destId="{3A53CC2A-BCA8-594C-A2CC-12F60835CDA4}" srcOrd="1" destOrd="0" parTransId="{03819DF9-42C4-D048-979F-A36CCC137337}" sibTransId="{D13953DE-F6CA-0047-9C34-C4827999F995}"/>
    <dgm:cxn modelId="{A1FD840F-8063-444C-9D2D-F10FDD0CC564}" srcId="{4799DAAB-B1A1-CC4C-82E4-60F291F28313}" destId="{0740C364-BC97-A74E-954C-1F2DD8BCC436}" srcOrd="0" destOrd="0" parTransId="{EEC734E0-635B-D24D-876E-CE40E0AC1014}" sibTransId="{2D5ABBAA-8B10-8C48-85BA-091686EFF2A6}"/>
    <dgm:cxn modelId="{DF6A7613-C37F-874D-9885-5DBB74878671}" srcId="{B1799219-BBC7-1E45-9626-7D8387A67126}" destId="{FCAF81D7-AF98-CA45-B8D1-C5356F756704}" srcOrd="5" destOrd="0" parTransId="{DAD1D26E-535B-2648-B350-7289987149C8}" sibTransId="{A334F4B2-193F-2D48-8F41-814A498C5798}"/>
    <dgm:cxn modelId="{3E886AC9-B542-4BEE-836F-617E81E4307E}" type="presOf" srcId="{B1799219-BBC7-1E45-9626-7D8387A67126}" destId="{77FBFEFF-FD75-D647-9E1C-3D0E4DD5C263}" srcOrd="0" destOrd="0" presId="urn:microsoft.com/office/officeart/2005/8/layout/vList6"/>
    <dgm:cxn modelId="{09AF944C-929F-F544-AE16-56E56A81C3A1}" srcId="{4799DAAB-B1A1-CC4C-82E4-60F291F28313}" destId="{B692854E-D89C-FB4E-840A-96369175E569}" srcOrd="4" destOrd="0" parTransId="{52E3FA48-C4F2-5745-AA68-7BA432A4C6DF}" sibTransId="{8BE65100-D6DB-AC4B-9ABD-6011642D5E8D}"/>
    <dgm:cxn modelId="{D1D6E090-0445-E54C-9642-82724ED569DC}" srcId="{B211AA74-82B4-D445-AEF7-14FDC7DAF2AF}" destId="{26A6A95F-EC16-6747-A0F7-3FF8904679F0}" srcOrd="1" destOrd="0" parTransId="{1A04B025-C683-9B4D-9894-175CCB0E2C6B}" sibTransId="{BE9A52C9-2D7E-6042-8D46-E3D4796338F8}"/>
    <dgm:cxn modelId="{704638DE-0033-4B4D-9AE7-17548B41C54D}" srcId="{26A6A95F-EC16-6747-A0F7-3FF8904679F0}" destId="{AC3AE9B0-75E6-8746-971A-B50A43280CBE}" srcOrd="0" destOrd="0" parTransId="{E7D193BA-434A-0043-9CD4-A0F8660402E6}" sibTransId="{4DB522BB-7527-AF46-997A-4B0744182D2F}"/>
    <dgm:cxn modelId="{BC04FD25-1DDC-4B36-BD4D-5A835C540065}" type="presOf" srcId="{1D499008-B7CD-814F-9B10-F3AC43F26D44}" destId="{873D942A-DCEE-DA49-A276-DD368AC45642}" srcOrd="0" destOrd="6" presId="urn:microsoft.com/office/officeart/2005/8/layout/vList6"/>
    <dgm:cxn modelId="{C2803E94-7C0F-1043-A03A-30CB13564A42}" srcId="{4799DAAB-B1A1-CC4C-82E4-60F291F28313}" destId="{A7ACCA0C-394D-BC4B-8EAA-86032359F50B}" srcOrd="3" destOrd="0" parTransId="{9A68FA11-0817-A243-9357-B0770007A360}" sibTransId="{55EF4D53-37A2-E848-89FB-3ACDE5E9E47F}"/>
    <dgm:cxn modelId="{6E3A3FDC-6D0D-44B0-94A4-F933B7D4F955}" type="presOf" srcId="{19B6A299-C952-0C49-B41B-7CA8F3D46AE1}" destId="{873D942A-DCEE-DA49-A276-DD368AC45642}" srcOrd="0" destOrd="5" presId="urn:microsoft.com/office/officeart/2005/8/layout/vList6"/>
    <dgm:cxn modelId="{40D7A5A4-5A05-4046-A8BB-7F31015DC1F6}" srcId="{4799DAAB-B1A1-CC4C-82E4-60F291F28313}" destId="{D25F446F-DFF0-5D4F-BE96-349C2FCE7C08}" srcOrd="2" destOrd="0" parTransId="{9946E526-4FF2-4F48-A8ED-530D6288F2F9}" sibTransId="{28A1D8BD-263E-9941-8B11-41CCB1BCE483}"/>
    <dgm:cxn modelId="{38719EF1-1762-AB4C-AFAA-9A9086F50CDC}" srcId="{26A6A95F-EC16-6747-A0F7-3FF8904679F0}" destId="{2855105A-5681-9049-85C9-A729851ADD12}" srcOrd="2" destOrd="0" parTransId="{8B0F689D-D412-234B-84D8-63F88ECAB79B}" sibTransId="{40EFFE1A-5216-5F4D-B7E1-7F57FA9B63A4}"/>
    <dgm:cxn modelId="{FD2ABF69-8E40-43DA-AE11-03C33C3FC232}" type="presOf" srcId="{26A6A95F-EC16-6747-A0F7-3FF8904679F0}" destId="{87940271-5C54-B447-9B57-FF73C0F06F09}" srcOrd="0" destOrd="0" presId="urn:microsoft.com/office/officeart/2005/8/layout/vList6"/>
    <dgm:cxn modelId="{E1EFABE2-8A46-4211-BA97-1E553541977E}" type="presOf" srcId="{B692854E-D89C-FB4E-840A-96369175E569}" destId="{873D942A-DCEE-DA49-A276-DD368AC45642}" srcOrd="0" destOrd="4" presId="urn:microsoft.com/office/officeart/2005/8/layout/vList6"/>
    <dgm:cxn modelId="{8AB6EB8A-B3DB-4CAC-B8EA-1C3DA6452A7C}" type="presOf" srcId="{B211AA74-82B4-D445-AEF7-14FDC7DAF2AF}" destId="{E6D2B939-082E-5549-93FD-F7B26A916233}" srcOrd="0" destOrd="0" presId="urn:microsoft.com/office/officeart/2005/8/layout/vList6"/>
    <dgm:cxn modelId="{D6CF2533-F03A-AA4B-8E66-35330DE81419}" srcId="{4799DAAB-B1A1-CC4C-82E4-60F291F28313}" destId="{8E0E1ACC-FF88-5A43-B74D-425D9E0FCBB5}" srcOrd="1" destOrd="0" parTransId="{41E7B14A-E0B5-EE40-82ED-90F2EE4D87E5}" sibTransId="{93412071-0739-2348-833F-FC206F5698F6}"/>
    <dgm:cxn modelId="{D3D667CE-21D6-4445-BA28-FED302FC3A4E}" type="presOf" srcId="{4799DAAB-B1A1-CC4C-82E4-60F291F28313}" destId="{63C99153-E32F-0141-9790-7DAFBBF28D1D}" srcOrd="0" destOrd="0" presId="urn:microsoft.com/office/officeart/2005/8/layout/vList6"/>
    <dgm:cxn modelId="{1D200B8E-E4FC-4EDE-859F-43064A3D2AC2}" type="presOf" srcId="{AC3AE9B0-75E6-8746-971A-B50A43280CBE}" destId="{BDDBCC88-F131-FA46-8963-3AD65A26C5B8}" srcOrd="0" destOrd="0" presId="urn:microsoft.com/office/officeart/2005/8/layout/vList6"/>
    <dgm:cxn modelId="{49C1C075-890D-2C4F-AFC9-60E31CB3141E}" srcId="{B1799219-BBC7-1E45-9626-7D8387A67126}" destId="{37F6045E-1317-A746-9ECB-28B2B089D1C1}" srcOrd="0" destOrd="0" parTransId="{621847E8-FE17-6D45-9D24-79DA92BE84C1}" sibTransId="{C762BD84-772B-034D-8F2E-53B3525BA5B7}"/>
    <dgm:cxn modelId="{D76C3402-4E59-4FA0-85AB-D59A09521D6F}" type="presOf" srcId="{A7ACCA0C-394D-BC4B-8EAA-86032359F50B}" destId="{873D942A-DCEE-DA49-A276-DD368AC45642}" srcOrd="0" destOrd="3" presId="urn:microsoft.com/office/officeart/2005/8/layout/vList6"/>
    <dgm:cxn modelId="{3FD55770-B7BC-4502-8D37-5A85687520C5}" type="presOf" srcId="{8E0E1ACC-FF88-5A43-B74D-425D9E0FCBB5}" destId="{873D942A-DCEE-DA49-A276-DD368AC45642}" srcOrd="0" destOrd="1" presId="urn:microsoft.com/office/officeart/2005/8/layout/vList6"/>
    <dgm:cxn modelId="{F988FAE1-6151-6F4E-8E4C-395E21367342}" srcId="{B211AA74-82B4-D445-AEF7-14FDC7DAF2AF}" destId="{B1799219-BBC7-1E45-9626-7D8387A67126}" srcOrd="2" destOrd="0" parTransId="{9F478688-3D5B-D54D-B2BE-E196925DC12C}" sibTransId="{20C1E598-E3EB-BC4B-B01C-5FEFCD7B45F0}"/>
    <dgm:cxn modelId="{1DF94C6B-1977-5245-964F-D7D441688FCF}" srcId="{B211AA74-82B4-D445-AEF7-14FDC7DAF2AF}" destId="{4799DAAB-B1A1-CC4C-82E4-60F291F28313}" srcOrd="0" destOrd="0" parTransId="{D8213BCE-EDDD-904A-919F-9292E0A82155}" sibTransId="{0D23FF18-B338-BE42-A0AB-7E472C96FCF2}"/>
    <dgm:cxn modelId="{A14CDEBA-328D-4D5F-97CE-97DAE553CAAC}" type="presOf" srcId="{4DD1D6EF-33EF-EC4A-A2ED-7A349BE16124}" destId="{BDDBCC88-F131-FA46-8963-3AD65A26C5B8}" srcOrd="0" destOrd="3" presId="urn:microsoft.com/office/officeart/2005/8/layout/vList6"/>
    <dgm:cxn modelId="{924D55C8-B604-438F-93F6-B4A5B069886E}" type="presOf" srcId="{FCAF81D7-AF98-CA45-B8D1-C5356F756704}" destId="{6842ABDA-D047-5D41-BB29-CAD0C7BE708B}" srcOrd="0" destOrd="5" presId="urn:microsoft.com/office/officeart/2005/8/layout/vList6"/>
    <dgm:cxn modelId="{743E6631-96F9-6647-A59C-40C7702EEED9}" srcId="{B1799219-BBC7-1E45-9626-7D8387A67126}" destId="{EF3BC7EF-5617-B749-BC42-62ED34E00161}" srcOrd="2" destOrd="0" parTransId="{461EBB9A-0A5A-5545-924F-79F26D99E68C}" sibTransId="{B60FFEDE-4477-0546-9C16-F9DCCDDBE6F0}"/>
    <dgm:cxn modelId="{9AEE766F-8471-4C1D-BF94-E7CD8AC1D322}" type="presOf" srcId="{9DB50C89-3F9B-1245-8DBA-341966963F15}" destId="{BDDBCC88-F131-FA46-8963-3AD65A26C5B8}" srcOrd="0" destOrd="1" presId="urn:microsoft.com/office/officeart/2005/8/layout/vList6"/>
    <dgm:cxn modelId="{DD8D5542-893B-0D40-B190-B6ED62492BFA}" srcId="{B1799219-BBC7-1E45-9626-7D8387A67126}" destId="{F338A86F-D8D0-C74C-BBE5-C753B799B2C0}" srcOrd="6" destOrd="0" parTransId="{FE32A449-9ADC-1940-976D-573DD0AF3448}" sibTransId="{DB9112DC-3C09-A841-9723-165287C5C720}"/>
    <dgm:cxn modelId="{975C979E-D95F-465E-8A9D-7A4649C860BA}" type="presOf" srcId="{3A53CC2A-BCA8-594C-A2CC-12F60835CDA4}" destId="{6842ABDA-D047-5D41-BB29-CAD0C7BE708B}" srcOrd="0" destOrd="1" presId="urn:microsoft.com/office/officeart/2005/8/layout/vList6"/>
    <dgm:cxn modelId="{544F7F5D-B69E-480A-8AA4-C01CA701E116}" type="presParOf" srcId="{E6D2B939-082E-5549-93FD-F7B26A916233}" destId="{C8D1DD5B-D6C5-3C42-9C52-315FFCBEDCFB}" srcOrd="0" destOrd="0" presId="urn:microsoft.com/office/officeart/2005/8/layout/vList6"/>
    <dgm:cxn modelId="{2A75BC48-614A-4881-89F4-4045709CD583}" type="presParOf" srcId="{C8D1DD5B-D6C5-3C42-9C52-315FFCBEDCFB}" destId="{63C99153-E32F-0141-9790-7DAFBBF28D1D}" srcOrd="0" destOrd="0" presId="urn:microsoft.com/office/officeart/2005/8/layout/vList6"/>
    <dgm:cxn modelId="{86A155C4-8890-4F39-AED1-CC2530BB86FE}" type="presParOf" srcId="{C8D1DD5B-D6C5-3C42-9C52-315FFCBEDCFB}" destId="{873D942A-DCEE-DA49-A276-DD368AC45642}" srcOrd="1" destOrd="0" presId="urn:microsoft.com/office/officeart/2005/8/layout/vList6"/>
    <dgm:cxn modelId="{118F9087-30CD-4F71-85ED-931993571A5B}" type="presParOf" srcId="{E6D2B939-082E-5549-93FD-F7B26A916233}" destId="{4FE92932-4A9F-3E42-91C6-B5E21D9D59C0}" srcOrd="1" destOrd="0" presId="urn:microsoft.com/office/officeart/2005/8/layout/vList6"/>
    <dgm:cxn modelId="{7A404EEF-656D-446F-BB0D-51A78266E937}" type="presParOf" srcId="{E6D2B939-082E-5549-93FD-F7B26A916233}" destId="{A6D17931-A462-CC42-B077-87D737C7C020}" srcOrd="2" destOrd="0" presId="urn:microsoft.com/office/officeart/2005/8/layout/vList6"/>
    <dgm:cxn modelId="{742176BB-4FB6-488D-A2B0-A53C414AFD0C}" type="presParOf" srcId="{A6D17931-A462-CC42-B077-87D737C7C020}" destId="{87940271-5C54-B447-9B57-FF73C0F06F09}" srcOrd="0" destOrd="0" presId="urn:microsoft.com/office/officeart/2005/8/layout/vList6"/>
    <dgm:cxn modelId="{D79EBC88-E117-4027-BC57-6BB887E7C662}" type="presParOf" srcId="{A6D17931-A462-CC42-B077-87D737C7C020}" destId="{BDDBCC88-F131-FA46-8963-3AD65A26C5B8}" srcOrd="1" destOrd="0" presId="urn:microsoft.com/office/officeart/2005/8/layout/vList6"/>
    <dgm:cxn modelId="{C1E20D0F-3D32-40B3-B13B-12F6DFAFA23B}" type="presParOf" srcId="{E6D2B939-082E-5549-93FD-F7B26A916233}" destId="{088FE2AF-2B88-EE48-9BF8-BC398AB85C2B}" srcOrd="3" destOrd="0" presId="urn:microsoft.com/office/officeart/2005/8/layout/vList6"/>
    <dgm:cxn modelId="{C6028721-39FB-4E7A-B032-04CF13389725}" type="presParOf" srcId="{E6D2B939-082E-5549-93FD-F7B26A916233}" destId="{40209312-8F24-DF4C-A05B-AC51A2EA31F6}" srcOrd="4" destOrd="0" presId="urn:microsoft.com/office/officeart/2005/8/layout/vList6"/>
    <dgm:cxn modelId="{71E293A5-8A2B-4B49-828C-0237B96C47A8}" type="presParOf" srcId="{40209312-8F24-DF4C-A05B-AC51A2EA31F6}" destId="{77FBFEFF-FD75-D647-9E1C-3D0E4DD5C263}" srcOrd="0" destOrd="0" presId="urn:microsoft.com/office/officeart/2005/8/layout/vList6"/>
    <dgm:cxn modelId="{739E29FE-263D-43A8-A768-E50BE646822F}" type="presParOf" srcId="{40209312-8F24-DF4C-A05B-AC51A2EA31F6}" destId="{6842ABDA-D047-5D41-BB29-CAD0C7BE708B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B211AA74-82B4-D445-AEF7-14FDC7DAF2AF}" type="doc">
      <dgm:prSet loTypeId="urn:microsoft.com/office/officeart/2005/8/layout/vList6" loCatId="" qsTypeId="urn:microsoft.com/office/officeart/2005/8/quickstyle/simple4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4799DAAB-B1A1-CC4C-82E4-60F291F28313}">
      <dgm:prSet phldrT="[Text]"/>
      <dgm:spPr/>
      <dgm:t>
        <a:bodyPr/>
        <a:lstStyle/>
        <a:p>
          <a:r>
            <a:rPr lang="en-US" dirty="0" smtClean="0"/>
            <a:t>1</a:t>
          </a:r>
          <a:r>
            <a:rPr lang="en-US" baseline="30000" dirty="0" smtClean="0"/>
            <a:t>st</a:t>
          </a:r>
          <a:r>
            <a:rPr lang="en-US" dirty="0" smtClean="0"/>
            <a:t> Quarter</a:t>
          </a:r>
          <a:endParaRPr lang="en-US" dirty="0"/>
        </a:p>
      </dgm:t>
    </dgm:pt>
    <dgm:pt modelId="{D8213BCE-EDDD-904A-919F-9292E0A82155}" type="parTrans" cxnId="{1DF94C6B-1977-5245-964F-D7D441688FCF}">
      <dgm:prSet/>
      <dgm:spPr/>
      <dgm:t>
        <a:bodyPr/>
        <a:lstStyle/>
        <a:p>
          <a:endParaRPr lang="en-US"/>
        </a:p>
      </dgm:t>
    </dgm:pt>
    <dgm:pt modelId="{0D23FF18-B338-BE42-A0AB-7E472C96FCF2}" type="sibTrans" cxnId="{1DF94C6B-1977-5245-964F-D7D441688FCF}">
      <dgm:prSet/>
      <dgm:spPr/>
      <dgm:t>
        <a:bodyPr/>
        <a:lstStyle/>
        <a:p>
          <a:endParaRPr lang="en-US"/>
        </a:p>
      </dgm:t>
    </dgm:pt>
    <dgm:pt modelId="{0740C364-BC97-A74E-954C-1F2DD8BCC436}">
      <dgm:prSet phldrT="[Text]" custT="1"/>
      <dgm:spPr/>
      <dgm:t>
        <a:bodyPr/>
        <a:lstStyle/>
        <a:p>
          <a:r>
            <a:rPr lang="en-US" sz="1600" dirty="0" smtClean="0"/>
            <a:t>Go private</a:t>
          </a:r>
          <a:endParaRPr lang="en-US" sz="1600" dirty="0"/>
        </a:p>
      </dgm:t>
    </dgm:pt>
    <dgm:pt modelId="{EEC734E0-635B-D24D-876E-CE40E0AC1014}" type="parTrans" cxnId="{A1FD840F-8063-444C-9D2D-F10FDD0CC564}">
      <dgm:prSet/>
      <dgm:spPr/>
      <dgm:t>
        <a:bodyPr/>
        <a:lstStyle/>
        <a:p>
          <a:endParaRPr lang="en-US"/>
        </a:p>
      </dgm:t>
    </dgm:pt>
    <dgm:pt modelId="{2D5ABBAA-8B10-8C48-85BA-091686EFF2A6}" type="sibTrans" cxnId="{A1FD840F-8063-444C-9D2D-F10FDD0CC564}">
      <dgm:prSet/>
      <dgm:spPr/>
      <dgm:t>
        <a:bodyPr/>
        <a:lstStyle/>
        <a:p>
          <a:endParaRPr lang="en-US"/>
        </a:p>
      </dgm:t>
    </dgm:pt>
    <dgm:pt modelId="{5D3966F3-85B5-2346-A0F2-BF0B786FBB1D}">
      <dgm:prSet phldrT="[Text]" custT="1"/>
      <dgm:spPr/>
      <dgm:t>
        <a:bodyPr/>
        <a:lstStyle/>
        <a:p>
          <a:r>
            <a:rPr lang="en-US" sz="1600" dirty="0" smtClean="0"/>
            <a:t>Continue Cost cutting</a:t>
          </a:r>
          <a:endParaRPr lang="en-US" sz="1600" dirty="0"/>
        </a:p>
      </dgm:t>
    </dgm:pt>
    <dgm:pt modelId="{F01DFFAA-CE80-3B47-BE84-C58FE3B18D31}" type="parTrans" cxnId="{BCE29727-5FC1-6A47-AC4D-AF9919D4DACD}">
      <dgm:prSet/>
      <dgm:spPr/>
      <dgm:t>
        <a:bodyPr/>
        <a:lstStyle/>
        <a:p>
          <a:endParaRPr lang="en-US"/>
        </a:p>
      </dgm:t>
    </dgm:pt>
    <dgm:pt modelId="{96CDE606-8636-0849-A56A-5951CE2BC2A5}" type="sibTrans" cxnId="{BCE29727-5FC1-6A47-AC4D-AF9919D4DACD}">
      <dgm:prSet/>
      <dgm:spPr/>
      <dgm:t>
        <a:bodyPr/>
        <a:lstStyle/>
        <a:p>
          <a:endParaRPr lang="en-US"/>
        </a:p>
      </dgm:t>
    </dgm:pt>
    <dgm:pt modelId="{26A6A95F-EC16-6747-A0F7-3FF8904679F0}">
      <dgm:prSet phldrT="[Text]"/>
      <dgm:spPr/>
      <dgm:t>
        <a:bodyPr/>
        <a:lstStyle/>
        <a:p>
          <a:r>
            <a:rPr lang="en-US" dirty="0" smtClean="0"/>
            <a:t>2</a:t>
          </a:r>
          <a:r>
            <a:rPr lang="en-US" baseline="30000" dirty="0" smtClean="0"/>
            <a:t>nd</a:t>
          </a:r>
          <a:r>
            <a:rPr lang="en-US" dirty="0" smtClean="0"/>
            <a:t> Quarter</a:t>
          </a:r>
          <a:endParaRPr lang="en-US" dirty="0"/>
        </a:p>
      </dgm:t>
    </dgm:pt>
    <dgm:pt modelId="{1A04B025-C683-9B4D-9894-175CCB0E2C6B}" type="parTrans" cxnId="{D1D6E090-0445-E54C-9642-82724ED569DC}">
      <dgm:prSet/>
      <dgm:spPr/>
      <dgm:t>
        <a:bodyPr/>
        <a:lstStyle/>
        <a:p>
          <a:endParaRPr lang="en-US"/>
        </a:p>
      </dgm:t>
    </dgm:pt>
    <dgm:pt modelId="{BE9A52C9-2D7E-6042-8D46-E3D4796338F8}" type="sibTrans" cxnId="{D1D6E090-0445-E54C-9642-82724ED569DC}">
      <dgm:prSet/>
      <dgm:spPr/>
      <dgm:t>
        <a:bodyPr/>
        <a:lstStyle/>
        <a:p>
          <a:endParaRPr lang="en-US"/>
        </a:p>
      </dgm:t>
    </dgm:pt>
    <dgm:pt modelId="{31C7CCD8-1310-6C4D-AE97-53A4927D8823}">
      <dgm:prSet phldrT="[Text]"/>
      <dgm:spPr/>
      <dgm:t>
        <a:bodyPr/>
        <a:lstStyle/>
        <a:p>
          <a:r>
            <a:rPr lang="en-US" dirty="0" smtClean="0"/>
            <a:t>Robust Organizational Communication System</a:t>
          </a:r>
          <a:endParaRPr lang="en-US" dirty="0"/>
        </a:p>
      </dgm:t>
    </dgm:pt>
    <dgm:pt modelId="{96D15E71-A0FC-914D-9393-EF57C2E7B52E}" type="parTrans" cxnId="{B215A357-335C-4C40-96CF-0DE27BB4412A}">
      <dgm:prSet/>
      <dgm:spPr/>
      <dgm:t>
        <a:bodyPr/>
        <a:lstStyle/>
        <a:p>
          <a:endParaRPr lang="en-US"/>
        </a:p>
      </dgm:t>
    </dgm:pt>
    <dgm:pt modelId="{ECF662D5-006A-C64F-B1F3-1B7A24000053}" type="sibTrans" cxnId="{B215A357-335C-4C40-96CF-0DE27BB4412A}">
      <dgm:prSet/>
      <dgm:spPr/>
      <dgm:t>
        <a:bodyPr/>
        <a:lstStyle/>
        <a:p>
          <a:endParaRPr lang="en-US"/>
        </a:p>
      </dgm:t>
    </dgm:pt>
    <dgm:pt modelId="{B1799219-BBC7-1E45-9626-7D8387A67126}">
      <dgm:prSet phldrT="[Text]"/>
      <dgm:spPr/>
      <dgm:t>
        <a:bodyPr/>
        <a:lstStyle/>
        <a:p>
          <a:r>
            <a:rPr lang="en-US" dirty="0" smtClean="0"/>
            <a:t>3</a:t>
          </a:r>
          <a:r>
            <a:rPr lang="en-US" baseline="30000" dirty="0" smtClean="0"/>
            <a:t>rd</a:t>
          </a:r>
          <a:r>
            <a:rPr lang="en-US" dirty="0" smtClean="0"/>
            <a:t> Quarter</a:t>
          </a:r>
          <a:endParaRPr lang="en-US" dirty="0"/>
        </a:p>
      </dgm:t>
    </dgm:pt>
    <dgm:pt modelId="{9F478688-3D5B-D54D-B2BE-E196925DC12C}" type="parTrans" cxnId="{F988FAE1-6151-6F4E-8E4C-395E21367342}">
      <dgm:prSet/>
      <dgm:spPr/>
      <dgm:t>
        <a:bodyPr/>
        <a:lstStyle/>
        <a:p>
          <a:endParaRPr lang="en-US"/>
        </a:p>
      </dgm:t>
    </dgm:pt>
    <dgm:pt modelId="{20C1E598-E3EB-BC4B-B01C-5FEFCD7B45F0}" type="sibTrans" cxnId="{F988FAE1-6151-6F4E-8E4C-395E21367342}">
      <dgm:prSet/>
      <dgm:spPr/>
      <dgm:t>
        <a:bodyPr/>
        <a:lstStyle/>
        <a:p>
          <a:endParaRPr lang="en-US"/>
        </a:p>
      </dgm:t>
    </dgm:pt>
    <dgm:pt modelId="{ACDBC380-91A8-D54C-A8DE-A51FDEACF324}">
      <dgm:prSet phldrT="[Text]" custT="1"/>
      <dgm:spPr/>
      <dgm:t>
        <a:bodyPr/>
        <a:lstStyle/>
        <a:p>
          <a:r>
            <a:rPr lang="en-US" sz="1600" dirty="0" smtClean="0"/>
            <a:t>Continue CORE Program</a:t>
          </a:r>
          <a:endParaRPr lang="en-US" sz="1600" dirty="0"/>
        </a:p>
      </dgm:t>
    </dgm:pt>
    <dgm:pt modelId="{6F14463C-8638-E340-9116-2A336DA7E863}" type="parTrans" cxnId="{017F8626-9EB3-9F44-8553-DCF678A45CFB}">
      <dgm:prSet/>
      <dgm:spPr/>
      <dgm:t>
        <a:bodyPr/>
        <a:lstStyle/>
        <a:p>
          <a:endParaRPr lang="en-US"/>
        </a:p>
      </dgm:t>
    </dgm:pt>
    <dgm:pt modelId="{C71E3D7D-F99B-7E43-B8EB-3189DD771255}" type="sibTrans" cxnId="{017F8626-9EB3-9F44-8553-DCF678A45CFB}">
      <dgm:prSet/>
      <dgm:spPr/>
      <dgm:t>
        <a:bodyPr/>
        <a:lstStyle/>
        <a:p>
          <a:endParaRPr lang="en-US"/>
        </a:p>
      </dgm:t>
    </dgm:pt>
    <dgm:pt modelId="{8E0E1ACC-FF88-5A43-B74D-425D9E0FCBB5}">
      <dgm:prSet phldrT="[Text]" custT="1"/>
      <dgm:spPr/>
      <dgm:t>
        <a:bodyPr/>
        <a:lstStyle/>
        <a:p>
          <a:r>
            <a:rPr lang="en-US" sz="1600" dirty="0" smtClean="0"/>
            <a:t>Arrest Software declines</a:t>
          </a:r>
          <a:endParaRPr lang="en-US" sz="1600" dirty="0"/>
        </a:p>
      </dgm:t>
    </dgm:pt>
    <dgm:pt modelId="{41E7B14A-E0B5-EE40-82ED-90F2EE4D87E5}" type="parTrans" cxnId="{D6CF2533-F03A-AA4B-8E66-35330DE81419}">
      <dgm:prSet/>
      <dgm:spPr/>
      <dgm:t>
        <a:bodyPr/>
        <a:lstStyle/>
        <a:p>
          <a:endParaRPr lang="en-US"/>
        </a:p>
      </dgm:t>
    </dgm:pt>
    <dgm:pt modelId="{93412071-0739-2348-833F-FC206F5698F6}" type="sibTrans" cxnId="{D6CF2533-F03A-AA4B-8E66-35330DE81419}">
      <dgm:prSet/>
      <dgm:spPr/>
      <dgm:t>
        <a:bodyPr/>
        <a:lstStyle/>
        <a:p>
          <a:endParaRPr lang="en-US"/>
        </a:p>
      </dgm:t>
    </dgm:pt>
    <dgm:pt modelId="{61D7B116-2930-424E-A86B-70B3B5C8D09D}">
      <dgm:prSet phldrT="[Text]"/>
      <dgm:spPr/>
      <dgm:t>
        <a:bodyPr/>
        <a:lstStyle/>
        <a:p>
          <a:r>
            <a:rPr lang="en-US" dirty="0" smtClean="0"/>
            <a:t>Reduce Product Mix</a:t>
          </a:r>
          <a:endParaRPr lang="en-US" dirty="0"/>
        </a:p>
      </dgm:t>
    </dgm:pt>
    <dgm:pt modelId="{E446C12C-52D6-E743-BFAB-AA96E9133914}" type="parTrans" cxnId="{A4424676-5C32-1846-AEF7-8A032761E2D9}">
      <dgm:prSet/>
      <dgm:spPr/>
      <dgm:t>
        <a:bodyPr/>
        <a:lstStyle/>
        <a:p>
          <a:endParaRPr lang="en-US"/>
        </a:p>
      </dgm:t>
    </dgm:pt>
    <dgm:pt modelId="{9690211F-68F5-4446-8173-67F5CA6D0597}" type="sibTrans" cxnId="{A4424676-5C32-1846-AEF7-8A032761E2D9}">
      <dgm:prSet/>
      <dgm:spPr/>
      <dgm:t>
        <a:bodyPr/>
        <a:lstStyle/>
        <a:p>
          <a:endParaRPr lang="en-US"/>
        </a:p>
      </dgm:t>
    </dgm:pt>
    <dgm:pt modelId="{37F6045E-1317-A746-9ECB-28B2B089D1C1}">
      <dgm:prSet phldrT="[Text]"/>
      <dgm:spPr/>
      <dgm:t>
        <a:bodyPr/>
        <a:lstStyle/>
        <a:p>
          <a:r>
            <a:rPr lang="en-US" dirty="0" smtClean="0"/>
            <a:t>Go Big with “Security = Blackberry” into IOS/Android</a:t>
          </a:r>
          <a:endParaRPr lang="en-US" dirty="0"/>
        </a:p>
      </dgm:t>
    </dgm:pt>
    <dgm:pt modelId="{621847E8-FE17-6D45-9D24-79DA92BE84C1}" type="parTrans" cxnId="{49C1C075-890D-2C4F-AFC9-60E31CB3141E}">
      <dgm:prSet/>
      <dgm:spPr/>
      <dgm:t>
        <a:bodyPr/>
        <a:lstStyle/>
        <a:p>
          <a:endParaRPr lang="en-US"/>
        </a:p>
      </dgm:t>
    </dgm:pt>
    <dgm:pt modelId="{C762BD84-772B-034D-8F2E-53B3525BA5B7}" type="sibTrans" cxnId="{49C1C075-890D-2C4F-AFC9-60E31CB3141E}">
      <dgm:prSet/>
      <dgm:spPr/>
      <dgm:t>
        <a:bodyPr/>
        <a:lstStyle/>
        <a:p>
          <a:endParaRPr lang="en-US"/>
        </a:p>
      </dgm:t>
    </dgm:pt>
    <dgm:pt modelId="{D25F446F-DFF0-5D4F-BE96-349C2FCE7C08}">
      <dgm:prSet phldrT="[Text]" custT="1"/>
      <dgm:spPr/>
      <dgm:t>
        <a:bodyPr/>
        <a:lstStyle/>
        <a:p>
          <a:r>
            <a:rPr lang="en-US" sz="1600" dirty="0" smtClean="0"/>
            <a:t>IOS/Android Platform</a:t>
          </a:r>
          <a:endParaRPr lang="en-US" sz="1600" dirty="0"/>
        </a:p>
      </dgm:t>
    </dgm:pt>
    <dgm:pt modelId="{9946E526-4FF2-4F48-A8ED-530D6288F2F9}" type="parTrans" cxnId="{40D7A5A4-5A05-4046-A8BB-7F31015DC1F6}">
      <dgm:prSet/>
      <dgm:spPr/>
      <dgm:t>
        <a:bodyPr/>
        <a:lstStyle/>
        <a:p>
          <a:endParaRPr lang="en-US"/>
        </a:p>
      </dgm:t>
    </dgm:pt>
    <dgm:pt modelId="{28A1D8BD-263E-9941-8B11-41CCB1BCE483}" type="sibTrans" cxnId="{40D7A5A4-5A05-4046-A8BB-7F31015DC1F6}">
      <dgm:prSet/>
      <dgm:spPr/>
      <dgm:t>
        <a:bodyPr/>
        <a:lstStyle/>
        <a:p>
          <a:endParaRPr lang="en-US"/>
        </a:p>
      </dgm:t>
    </dgm:pt>
    <dgm:pt modelId="{2E942845-8581-6A41-8EFD-A0BA0C84CC32}">
      <dgm:prSet phldrT="[Text]"/>
      <dgm:spPr/>
      <dgm:t>
        <a:bodyPr/>
        <a:lstStyle/>
        <a:p>
          <a:endParaRPr lang="en-US" dirty="0"/>
        </a:p>
      </dgm:t>
    </dgm:pt>
    <dgm:pt modelId="{FA74C763-0148-934A-8964-FE2F7C517251}" type="parTrans" cxnId="{CCA57E61-766C-0B4E-9E45-4FD6C20A7FA4}">
      <dgm:prSet/>
      <dgm:spPr/>
      <dgm:t>
        <a:bodyPr/>
        <a:lstStyle/>
        <a:p>
          <a:endParaRPr lang="en-US"/>
        </a:p>
      </dgm:t>
    </dgm:pt>
    <dgm:pt modelId="{545660AA-D0DA-5047-AC6F-D89951ECF195}" type="sibTrans" cxnId="{CCA57E61-766C-0B4E-9E45-4FD6C20A7FA4}">
      <dgm:prSet/>
      <dgm:spPr/>
      <dgm:t>
        <a:bodyPr/>
        <a:lstStyle/>
        <a:p>
          <a:endParaRPr lang="en-US"/>
        </a:p>
      </dgm:t>
    </dgm:pt>
    <dgm:pt modelId="{F13EEA1D-E9B1-2947-93AA-8A0FAD160964}">
      <dgm:prSet phldrT="[Text]"/>
      <dgm:spPr/>
      <dgm:t>
        <a:bodyPr/>
        <a:lstStyle/>
        <a:p>
          <a:r>
            <a:rPr lang="en-US" dirty="0" smtClean="0"/>
            <a:t>Liquidate Assets</a:t>
          </a:r>
          <a:endParaRPr lang="en-US" dirty="0"/>
        </a:p>
      </dgm:t>
    </dgm:pt>
    <dgm:pt modelId="{1E703E17-3C57-7C4B-8647-B7299A25A7A4}" type="parTrans" cxnId="{EE62E7D2-FBE4-EF48-B3F7-D8205022F273}">
      <dgm:prSet/>
      <dgm:spPr/>
      <dgm:t>
        <a:bodyPr/>
        <a:lstStyle/>
        <a:p>
          <a:endParaRPr lang="en-US"/>
        </a:p>
      </dgm:t>
    </dgm:pt>
    <dgm:pt modelId="{EA4D433D-4879-0047-B96F-604E46671036}" type="sibTrans" cxnId="{EE62E7D2-FBE4-EF48-B3F7-D8205022F273}">
      <dgm:prSet/>
      <dgm:spPr/>
      <dgm:t>
        <a:bodyPr/>
        <a:lstStyle/>
        <a:p>
          <a:endParaRPr lang="en-US"/>
        </a:p>
      </dgm:t>
    </dgm:pt>
    <dgm:pt modelId="{E6D2B939-082E-5549-93FD-F7B26A916233}" type="pres">
      <dgm:prSet presAssocID="{B211AA74-82B4-D445-AEF7-14FDC7DAF2AF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C8D1DD5B-D6C5-3C42-9C52-315FFCBEDCFB}" type="pres">
      <dgm:prSet presAssocID="{4799DAAB-B1A1-CC4C-82E4-60F291F28313}" presName="linNode" presStyleCnt="0"/>
      <dgm:spPr/>
    </dgm:pt>
    <dgm:pt modelId="{63C99153-E32F-0141-9790-7DAFBBF28D1D}" type="pres">
      <dgm:prSet presAssocID="{4799DAAB-B1A1-CC4C-82E4-60F291F28313}" presName="parentShp" presStyleLbl="node1" presStyleIdx="0" presStyleCnt="3" custScaleX="7588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73D942A-DCEE-DA49-A276-DD368AC45642}" type="pres">
      <dgm:prSet presAssocID="{4799DAAB-B1A1-CC4C-82E4-60F291F28313}" presName="childShp" presStyleLbl="b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FE92932-4A9F-3E42-91C6-B5E21D9D59C0}" type="pres">
      <dgm:prSet presAssocID="{0D23FF18-B338-BE42-A0AB-7E472C96FCF2}" presName="spacing" presStyleCnt="0"/>
      <dgm:spPr/>
    </dgm:pt>
    <dgm:pt modelId="{A6D17931-A462-CC42-B077-87D737C7C020}" type="pres">
      <dgm:prSet presAssocID="{26A6A95F-EC16-6747-A0F7-3FF8904679F0}" presName="linNode" presStyleCnt="0"/>
      <dgm:spPr/>
    </dgm:pt>
    <dgm:pt modelId="{87940271-5C54-B447-9B57-FF73C0F06F09}" type="pres">
      <dgm:prSet presAssocID="{26A6A95F-EC16-6747-A0F7-3FF8904679F0}" presName="parentShp" presStyleLbl="node1" presStyleIdx="1" presStyleCnt="3" custScaleX="7604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DBCC88-F131-FA46-8963-3AD65A26C5B8}" type="pres">
      <dgm:prSet presAssocID="{26A6A95F-EC16-6747-A0F7-3FF8904679F0}" presName="childShp" presStyleLbl="b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8FE2AF-2B88-EE48-9BF8-BC398AB85C2B}" type="pres">
      <dgm:prSet presAssocID="{BE9A52C9-2D7E-6042-8D46-E3D4796338F8}" presName="spacing" presStyleCnt="0"/>
      <dgm:spPr/>
    </dgm:pt>
    <dgm:pt modelId="{40209312-8F24-DF4C-A05B-AC51A2EA31F6}" type="pres">
      <dgm:prSet presAssocID="{B1799219-BBC7-1E45-9626-7D8387A67126}" presName="linNode" presStyleCnt="0"/>
      <dgm:spPr/>
    </dgm:pt>
    <dgm:pt modelId="{77FBFEFF-FD75-D647-9E1C-3D0E4DD5C263}" type="pres">
      <dgm:prSet presAssocID="{B1799219-BBC7-1E45-9626-7D8387A67126}" presName="parentShp" presStyleLbl="node1" presStyleIdx="2" presStyleCnt="3" custScaleX="7588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842ABDA-D047-5D41-BB29-CAD0C7BE708B}" type="pres">
      <dgm:prSet presAssocID="{B1799219-BBC7-1E45-9626-7D8387A67126}" presName="childShp" presStyleLbl="b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A6B1FB9-7506-4F79-8E2C-EFE4C43E7325}" type="presOf" srcId="{26A6A95F-EC16-6747-A0F7-3FF8904679F0}" destId="{87940271-5C54-B447-9B57-FF73C0F06F09}" srcOrd="0" destOrd="0" presId="urn:microsoft.com/office/officeart/2005/8/layout/vList6"/>
    <dgm:cxn modelId="{17EF1B3E-AC2D-4C4C-A15C-324FC9DEF8D9}" type="presOf" srcId="{37F6045E-1317-A746-9ECB-28B2B089D1C1}" destId="{6842ABDA-D047-5D41-BB29-CAD0C7BE708B}" srcOrd="0" destOrd="1" presId="urn:microsoft.com/office/officeart/2005/8/layout/vList6"/>
    <dgm:cxn modelId="{4777934C-99FA-40C1-856E-1F036AB5FA5A}" type="presOf" srcId="{F13EEA1D-E9B1-2947-93AA-8A0FAD160964}" destId="{BDDBCC88-F131-FA46-8963-3AD65A26C5B8}" srcOrd="0" destOrd="0" presId="urn:microsoft.com/office/officeart/2005/8/layout/vList6"/>
    <dgm:cxn modelId="{BCE29727-5FC1-6A47-AC4D-AF9919D4DACD}" srcId="{4799DAAB-B1A1-CC4C-82E4-60F291F28313}" destId="{5D3966F3-85B5-2346-A0F2-BF0B786FBB1D}" srcOrd="1" destOrd="0" parTransId="{F01DFFAA-CE80-3B47-BE84-C58FE3B18D31}" sibTransId="{96CDE606-8636-0849-A56A-5951CE2BC2A5}"/>
    <dgm:cxn modelId="{B215A357-335C-4C40-96CF-0DE27BB4412A}" srcId="{26A6A95F-EC16-6747-A0F7-3FF8904679F0}" destId="{31C7CCD8-1310-6C4D-AE97-53A4927D8823}" srcOrd="1" destOrd="0" parTransId="{96D15E71-A0FC-914D-9393-EF57C2E7B52E}" sibTransId="{ECF662D5-006A-C64F-B1F3-1B7A24000053}"/>
    <dgm:cxn modelId="{6D888D4D-187C-4AF3-8863-5DCD9DDC90C3}" type="presOf" srcId="{B1799219-BBC7-1E45-9626-7D8387A67126}" destId="{77FBFEFF-FD75-D647-9E1C-3D0E4DD5C263}" srcOrd="0" destOrd="0" presId="urn:microsoft.com/office/officeart/2005/8/layout/vList6"/>
    <dgm:cxn modelId="{CCA57E61-766C-0B4E-9E45-4FD6C20A7FA4}" srcId="{B1799219-BBC7-1E45-9626-7D8387A67126}" destId="{2E942845-8581-6A41-8EFD-A0BA0C84CC32}" srcOrd="0" destOrd="0" parTransId="{FA74C763-0148-934A-8964-FE2F7C517251}" sibTransId="{545660AA-D0DA-5047-AC6F-D89951ECF195}"/>
    <dgm:cxn modelId="{A1FD840F-8063-444C-9D2D-F10FDD0CC564}" srcId="{4799DAAB-B1A1-CC4C-82E4-60F291F28313}" destId="{0740C364-BC97-A74E-954C-1F2DD8BCC436}" srcOrd="0" destOrd="0" parTransId="{EEC734E0-635B-D24D-876E-CE40E0AC1014}" sibTransId="{2D5ABBAA-8B10-8C48-85BA-091686EFF2A6}"/>
    <dgm:cxn modelId="{EE62E7D2-FBE4-EF48-B3F7-D8205022F273}" srcId="{26A6A95F-EC16-6747-A0F7-3FF8904679F0}" destId="{F13EEA1D-E9B1-2947-93AA-8A0FAD160964}" srcOrd="0" destOrd="0" parTransId="{1E703E17-3C57-7C4B-8647-B7299A25A7A4}" sibTransId="{EA4D433D-4879-0047-B96F-604E46671036}"/>
    <dgm:cxn modelId="{205F265B-21FB-4189-AF1B-4142068D3776}" type="presOf" srcId="{0740C364-BC97-A74E-954C-1F2DD8BCC436}" destId="{873D942A-DCEE-DA49-A276-DD368AC45642}" srcOrd="0" destOrd="0" presId="urn:microsoft.com/office/officeart/2005/8/layout/vList6"/>
    <dgm:cxn modelId="{A519D3C9-14F8-4E07-9F17-CE18AEF39C9C}" type="presOf" srcId="{2E942845-8581-6A41-8EFD-A0BA0C84CC32}" destId="{6842ABDA-D047-5D41-BB29-CAD0C7BE708B}" srcOrd="0" destOrd="0" presId="urn:microsoft.com/office/officeart/2005/8/layout/vList6"/>
    <dgm:cxn modelId="{D1D6E090-0445-E54C-9642-82724ED569DC}" srcId="{B211AA74-82B4-D445-AEF7-14FDC7DAF2AF}" destId="{26A6A95F-EC16-6747-A0F7-3FF8904679F0}" srcOrd="1" destOrd="0" parTransId="{1A04B025-C683-9B4D-9894-175CCB0E2C6B}" sibTransId="{BE9A52C9-2D7E-6042-8D46-E3D4796338F8}"/>
    <dgm:cxn modelId="{C2FFD62D-867B-4312-8BE1-43761E864E71}" type="presOf" srcId="{61D7B116-2930-424E-A86B-70B3B5C8D09D}" destId="{BDDBCC88-F131-FA46-8963-3AD65A26C5B8}" srcOrd="0" destOrd="2" presId="urn:microsoft.com/office/officeart/2005/8/layout/vList6"/>
    <dgm:cxn modelId="{E8A2583D-AB19-4AE8-BFDB-6E861377138C}" type="presOf" srcId="{4799DAAB-B1A1-CC4C-82E4-60F291F28313}" destId="{63C99153-E32F-0141-9790-7DAFBBF28D1D}" srcOrd="0" destOrd="0" presId="urn:microsoft.com/office/officeart/2005/8/layout/vList6"/>
    <dgm:cxn modelId="{87039850-8524-4213-B8CC-975B03A82479}" type="presOf" srcId="{B211AA74-82B4-D445-AEF7-14FDC7DAF2AF}" destId="{E6D2B939-082E-5549-93FD-F7B26A916233}" srcOrd="0" destOrd="0" presId="urn:microsoft.com/office/officeart/2005/8/layout/vList6"/>
    <dgm:cxn modelId="{40D7A5A4-5A05-4046-A8BB-7F31015DC1F6}" srcId="{4799DAAB-B1A1-CC4C-82E4-60F291F28313}" destId="{D25F446F-DFF0-5D4F-BE96-349C2FCE7C08}" srcOrd="4" destOrd="0" parTransId="{9946E526-4FF2-4F48-A8ED-530D6288F2F9}" sibTransId="{28A1D8BD-263E-9941-8B11-41CCB1BCE483}"/>
    <dgm:cxn modelId="{9E24F577-50EB-4B53-979F-57ED2BEDB08B}" type="presOf" srcId="{D25F446F-DFF0-5D4F-BE96-349C2FCE7C08}" destId="{873D942A-DCEE-DA49-A276-DD368AC45642}" srcOrd="0" destOrd="4" presId="urn:microsoft.com/office/officeart/2005/8/layout/vList6"/>
    <dgm:cxn modelId="{82F71941-8E40-4535-B10E-A49DDD1A84F7}" type="presOf" srcId="{5D3966F3-85B5-2346-A0F2-BF0B786FBB1D}" destId="{873D942A-DCEE-DA49-A276-DD368AC45642}" srcOrd="0" destOrd="1" presId="urn:microsoft.com/office/officeart/2005/8/layout/vList6"/>
    <dgm:cxn modelId="{D6CF2533-F03A-AA4B-8E66-35330DE81419}" srcId="{4799DAAB-B1A1-CC4C-82E4-60F291F28313}" destId="{8E0E1ACC-FF88-5A43-B74D-425D9E0FCBB5}" srcOrd="3" destOrd="0" parTransId="{41E7B14A-E0B5-EE40-82ED-90F2EE4D87E5}" sibTransId="{93412071-0739-2348-833F-FC206F5698F6}"/>
    <dgm:cxn modelId="{B49CA1B5-A728-45A1-94CF-FC3C9325C5EF}" type="presOf" srcId="{31C7CCD8-1310-6C4D-AE97-53A4927D8823}" destId="{BDDBCC88-F131-FA46-8963-3AD65A26C5B8}" srcOrd="0" destOrd="1" presId="urn:microsoft.com/office/officeart/2005/8/layout/vList6"/>
    <dgm:cxn modelId="{49C1C075-890D-2C4F-AFC9-60E31CB3141E}" srcId="{B1799219-BBC7-1E45-9626-7D8387A67126}" destId="{37F6045E-1317-A746-9ECB-28B2B089D1C1}" srcOrd="1" destOrd="0" parTransId="{621847E8-FE17-6D45-9D24-79DA92BE84C1}" sibTransId="{C762BD84-772B-034D-8F2E-53B3525BA5B7}"/>
    <dgm:cxn modelId="{F988FAE1-6151-6F4E-8E4C-395E21367342}" srcId="{B211AA74-82B4-D445-AEF7-14FDC7DAF2AF}" destId="{B1799219-BBC7-1E45-9626-7D8387A67126}" srcOrd="2" destOrd="0" parTransId="{9F478688-3D5B-D54D-B2BE-E196925DC12C}" sibTransId="{20C1E598-E3EB-BC4B-B01C-5FEFCD7B45F0}"/>
    <dgm:cxn modelId="{1DF94C6B-1977-5245-964F-D7D441688FCF}" srcId="{B211AA74-82B4-D445-AEF7-14FDC7DAF2AF}" destId="{4799DAAB-B1A1-CC4C-82E4-60F291F28313}" srcOrd="0" destOrd="0" parTransId="{D8213BCE-EDDD-904A-919F-9292E0A82155}" sibTransId="{0D23FF18-B338-BE42-A0AB-7E472C96FCF2}"/>
    <dgm:cxn modelId="{6491143C-0864-4A85-BE69-80E9CEC0DB89}" type="presOf" srcId="{8E0E1ACC-FF88-5A43-B74D-425D9E0FCBB5}" destId="{873D942A-DCEE-DA49-A276-DD368AC45642}" srcOrd="0" destOrd="3" presId="urn:microsoft.com/office/officeart/2005/8/layout/vList6"/>
    <dgm:cxn modelId="{A4424676-5C32-1846-AEF7-8A032761E2D9}" srcId="{26A6A95F-EC16-6747-A0F7-3FF8904679F0}" destId="{61D7B116-2930-424E-A86B-70B3B5C8D09D}" srcOrd="2" destOrd="0" parTransId="{E446C12C-52D6-E743-BFAB-AA96E9133914}" sibTransId="{9690211F-68F5-4446-8173-67F5CA6D0597}"/>
    <dgm:cxn modelId="{017F8626-9EB3-9F44-8553-DCF678A45CFB}" srcId="{4799DAAB-B1A1-CC4C-82E4-60F291F28313}" destId="{ACDBC380-91A8-D54C-A8DE-A51FDEACF324}" srcOrd="2" destOrd="0" parTransId="{6F14463C-8638-E340-9116-2A336DA7E863}" sibTransId="{C71E3D7D-F99B-7E43-B8EB-3189DD771255}"/>
    <dgm:cxn modelId="{C35446BE-84A0-4E33-9822-CF45E26D1F40}" type="presOf" srcId="{ACDBC380-91A8-D54C-A8DE-A51FDEACF324}" destId="{873D942A-DCEE-DA49-A276-DD368AC45642}" srcOrd="0" destOrd="2" presId="urn:microsoft.com/office/officeart/2005/8/layout/vList6"/>
    <dgm:cxn modelId="{AA07353B-BAAC-4204-9F75-29B859FEC2C6}" type="presParOf" srcId="{E6D2B939-082E-5549-93FD-F7B26A916233}" destId="{C8D1DD5B-D6C5-3C42-9C52-315FFCBEDCFB}" srcOrd="0" destOrd="0" presId="urn:microsoft.com/office/officeart/2005/8/layout/vList6"/>
    <dgm:cxn modelId="{EAFBCF63-DCF3-4B73-9323-04DAC5B3DBCE}" type="presParOf" srcId="{C8D1DD5B-D6C5-3C42-9C52-315FFCBEDCFB}" destId="{63C99153-E32F-0141-9790-7DAFBBF28D1D}" srcOrd="0" destOrd="0" presId="urn:microsoft.com/office/officeart/2005/8/layout/vList6"/>
    <dgm:cxn modelId="{950E6D57-BFAF-4BA0-B2EC-ABB176701308}" type="presParOf" srcId="{C8D1DD5B-D6C5-3C42-9C52-315FFCBEDCFB}" destId="{873D942A-DCEE-DA49-A276-DD368AC45642}" srcOrd="1" destOrd="0" presId="urn:microsoft.com/office/officeart/2005/8/layout/vList6"/>
    <dgm:cxn modelId="{C3B4BA21-8E59-4886-9267-72E740700C42}" type="presParOf" srcId="{E6D2B939-082E-5549-93FD-F7B26A916233}" destId="{4FE92932-4A9F-3E42-91C6-B5E21D9D59C0}" srcOrd="1" destOrd="0" presId="urn:microsoft.com/office/officeart/2005/8/layout/vList6"/>
    <dgm:cxn modelId="{03DC1A25-A3B3-4F5F-833D-D38985D1A97C}" type="presParOf" srcId="{E6D2B939-082E-5549-93FD-F7B26A916233}" destId="{A6D17931-A462-CC42-B077-87D737C7C020}" srcOrd="2" destOrd="0" presId="urn:microsoft.com/office/officeart/2005/8/layout/vList6"/>
    <dgm:cxn modelId="{1D1F8E03-0950-414E-97C4-AE2DA2589FA0}" type="presParOf" srcId="{A6D17931-A462-CC42-B077-87D737C7C020}" destId="{87940271-5C54-B447-9B57-FF73C0F06F09}" srcOrd="0" destOrd="0" presId="urn:microsoft.com/office/officeart/2005/8/layout/vList6"/>
    <dgm:cxn modelId="{7CC0F0CB-E1F5-4E8B-AEDB-9440E1A2B854}" type="presParOf" srcId="{A6D17931-A462-CC42-B077-87D737C7C020}" destId="{BDDBCC88-F131-FA46-8963-3AD65A26C5B8}" srcOrd="1" destOrd="0" presId="urn:microsoft.com/office/officeart/2005/8/layout/vList6"/>
    <dgm:cxn modelId="{C77FD592-0E6C-4366-AAB6-42B5D4617AB8}" type="presParOf" srcId="{E6D2B939-082E-5549-93FD-F7B26A916233}" destId="{088FE2AF-2B88-EE48-9BF8-BC398AB85C2B}" srcOrd="3" destOrd="0" presId="urn:microsoft.com/office/officeart/2005/8/layout/vList6"/>
    <dgm:cxn modelId="{A97F208A-B238-41F5-BCED-92AD427014CB}" type="presParOf" srcId="{E6D2B939-082E-5549-93FD-F7B26A916233}" destId="{40209312-8F24-DF4C-A05B-AC51A2EA31F6}" srcOrd="4" destOrd="0" presId="urn:microsoft.com/office/officeart/2005/8/layout/vList6"/>
    <dgm:cxn modelId="{71BCE12C-478D-4C47-A4C7-8956B486AAF1}" type="presParOf" srcId="{40209312-8F24-DF4C-A05B-AC51A2EA31F6}" destId="{77FBFEFF-FD75-D647-9E1C-3D0E4DD5C263}" srcOrd="0" destOrd="0" presId="urn:microsoft.com/office/officeart/2005/8/layout/vList6"/>
    <dgm:cxn modelId="{FEE988C6-1BCC-4013-A670-7AC0F9D49776}" type="presParOf" srcId="{40209312-8F24-DF4C-A05B-AC51A2EA31F6}" destId="{6842ABDA-D047-5D41-BB29-CAD0C7BE708B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C33EBB76-30E4-8742-ABC8-F8FD8D2624EB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6CDD395-F998-744E-9DA5-F248052A3F8A}">
      <dgm:prSet phldrT="[Text]"/>
      <dgm:spPr/>
      <dgm:t>
        <a:bodyPr/>
        <a:lstStyle/>
        <a:p>
          <a:r>
            <a:rPr lang="en-US" dirty="0" smtClean="0"/>
            <a:t>Possible Issues</a:t>
          </a:r>
          <a:endParaRPr lang="en-US" dirty="0"/>
        </a:p>
      </dgm:t>
    </dgm:pt>
    <dgm:pt modelId="{6A83C0D3-07E4-EC4A-9A6B-F3CF1AAB66F1}" type="parTrans" cxnId="{AE65F5C8-7943-A943-A016-5E77311DCEBD}">
      <dgm:prSet/>
      <dgm:spPr/>
      <dgm:t>
        <a:bodyPr/>
        <a:lstStyle/>
        <a:p>
          <a:endParaRPr lang="en-US"/>
        </a:p>
      </dgm:t>
    </dgm:pt>
    <dgm:pt modelId="{FF474942-40EA-704F-965A-F6B366961E6E}" type="sibTrans" cxnId="{AE65F5C8-7943-A943-A016-5E77311DCEBD}">
      <dgm:prSet/>
      <dgm:spPr/>
      <dgm:t>
        <a:bodyPr/>
        <a:lstStyle/>
        <a:p>
          <a:endParaRPr lang="en-US"/>
        </a:p>
      </dgm:t>
    </dgm:pt>
    <dgm:pt modelId="{78A0471C-DE17-954A-A2DA-D8502024AAAE}">
      <dgm:prSet phldrT="[Text]"/>
      <dgm:spPr/>
      <dgm:t>
        <a:bodyPr/>
        <a:lstStyle/>
        <a:p>
          <a:r>
            <a:rPr lang="en-US" dirty="0" smtClean="0"/>
            <a:t>Competition</a:t>
          </a:r>
          <a:endParaRPr lang="en-US" dirty="0"/>
        </a:p>
      </dgm:t>
    </dgm:pt>
    <dgm:pt modelId="{3CDE34C8-3F27-B44D-B584-7DCB0F57C41E}" type="parTrans" cxnId="{80A17B56-9ADA-F44A-8784-BF9042ACD22E}">
      <dgm:prSet/>
      <dgm:spPr/>
      <dgm:t>
        <a:bodyPr/>
        <a:lstStyle/>
        <a:p>
          <a:endParaRPr lang="en-US"/>
        </a:p>
      </dgm:t>
    </dgm:pt>
    <dgm:pt modelId="{88EBED7C-41E7-C34A-BACE-91DFE0AA5045}" type="sibTrans" cxnId="{80A17B56-9ADA-F44A-8784-BF9042ACD22E}">
      <dgm:prSet/>
      <dgm:spPr/>
      <dgm:t>
        <a:bodyPr/>
        <a:lstStyle/>
        <a:p>
          <a:endParaRPr lang="en-US"/>
        </a:p>
      </dgm:t>
    </dgm:pt>
    <dgm:pt modelId="{4722E111-9C85-4540-9839-EBF4012D5C55}">
      <dgm:prSet phldrT="[Text]"/>
      <dgm:spPr/>
      <dgm:t>
        <a:bodyPr/>
        <a:lstStyle/>
        <a:p>
          <a:r>
            <a:rPr lang="en-US" dirty="0" smtClean="0"/>
            <a:t>Restructuring Issues</a:t>
          </a:r>
          <a:endParaRPr lang="en-US" dirty="0"/>
        </a:p>
      </dgm:t>
    </dgm:pt>
    <dgm:pt modelId="{0108B709-A333-0241-9A8C-DF0E25359F69}" type="parTrans" cxnId="{61419FA6-62BE-F941-90BB-13750418C227}">
      <dgm:prSet/>
      <dgm:spPr/>
      <dgm:t>
        <a:bodyPr/>
        <a:lstStyle/>
        <a:p>
          <a:endParaRPr lang="en-US"/>
        </a:p>
      </dgm:t>
    </dgm:pt>
    <dgm:pt modelId="{7E8D1F17-EDA5-F440-A384-8860E271185E}" type="sibTrans" cxnId="{61419FA6-62BE-F941-90BB-13750418C227}">
      <dgm:prSet/>
      <dgm:spPr/>
      <dgm:t>
        <a:bodyPr/>
        <a:lstStyle/>
        <a:p>
          <a:endParaRPr lang="en-US"/>
        </a:p>
      </dgm:t>
    </dgm:pt>
    <dgm:pt modelId="{DC0B1877-D750-D745-B81C-7C96DA1EE90D}">
      <dgm:prSet phldrT="[Text]"/>
      <dgm:spPr/>
      <dgm:t>
        <a:bodyPr/>
        <a:lstStyle/>
        <a:p>
          <a:r>
            <a:rPr lang="en-US" dirty="0" smtClean="0"/>
            <a:t>Employee Insecurity</a:t>
          </a:r>
          <a:endParaRPr lang="en-US" dirty="0"/>
        </a:p>
      </dgm:t>
    </dgm:pt>
    <dgm:pt modelId="{A2F8CF90-54AE-7647-AC37-EAB1F4DACD88}" type="parTrans" cxnId="{FF4B5A75-F1B5-044F-8C54-6ADCB74E8BF5}">
      <dgm:prSet/>
      <dgm:spPr/>
      <dgm:t>
        <a:bodyPr/>
        <a:lstStyle/>
        <a:p>
          <a:endParaRPr lang="en-US"/>
        </a:p>
      </dgm:t>
    </dgm:pt>
    <dgm:pt modelId="{65016698-2DCF-9F47-8809-01A37E7C15A1}" type="sibTrans" cxnId="{FF4B5A75-F1B5-044F-8C54-6ADCB74E8BF5}">
      <dgm:prSet/>
      <dgm:spPr/>
      <dgm:t>
        <a:bodyPr/>
        <a:lstStyle/>
        <a:p>
          <a:endParaRPr lang="en-US"/>
        </a:p>
      </dgm:t>
    </dgm:pt>
    <dgm:pt modelId="{8F2307D4-F400-404F-B1ED-092A6C1655D4}">
      <dgm:prSet phldrT="[Text]"/>
      <dgm:spPr/>
      <dgm:t>
        <a:bodyPr/>
        <a:lstStyle/>
        <a:p>
          <a:r>
            <a:rPr lang="en-US" dirty="0" smtClean="0"/>
            <a:t>Short turnaround time</a:t>
          </a:r>
          <a:endParaRPr lang="en-US" dirty="0"/>
        </a:p>
      </dgm:t>
    </dgm:pt>
    <dgm:pt modelId="{8D6AF19A-B3C5-3D43-90A8-4BAE922F621B}" type="parTrans" cxnId="{44E6A3E8-E6E0-F146-AE5A-BBA2F67FF106}">
      <dgm:prSet/>
      <dgm:spPr/>
      <dgm:t>
        <a:bodyPr/>
        <a:lstStyle/>
        <a:p>
          <a:endParaRPr lang="en-US"/>
        </a:p>
      </dgm:t>
    </dgm:pt>
    <dgm:pt modelId="{9E90EE87-2E88-4348-9486-ABF4EC9A1E93}" type="sibTrans" cxnId="{44E6A3E8-E6E0-F146-AE5A-BBA2F67FF106}">
      <dgm:prSet/>
      <dgm:spPr/>
      <dgm:t>
        <a:bodyPr/>
        <a:lstStyle/>
        <a:p>
          <a:endParaRPr lang="en-US"/>
        </a:p>
      </dgm:t>
    </dgm:pt>
    <dgm:pt modelId="{ECF894A3-4E95-1D48-B0C9-62985B859809}" type="pres">
      <dgm:prSet presAssocID="{C33EBB76-30E4-8742-ABC8-F8FD8D2624EB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BB67204-21CF-5044-965E-4DD810C8EE20}" type="pres">
      <dgm:prSet presAssocID="{C6CDD395-F998-744E-9DA5-F248052A3F8A}" presName="root1" presStyleCnt="0"/>
      <dgm:spPr/>
    </dgm:pt>
    <dgm:pt modelId="{3FB1469F-8AEB-9542-B801-F6FAB1A7F24F}" type="pres">
      <dgm:prSet presAssocID="{C6CDD395-F998-744E-9DA5-F248052A3F8A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6C346BA-3D36-284C-8A4F-1F9DEE07D398}" type="pres">
      <dgm:prSet presAssocID="{C6CDD395-F998-744E-9DA5-F248052A3F8A}" presName="level2hierChild" presStyleCnt="0"/>
      <dgm:spPr/>
    </dgm:pt>
    <dgm:pt modelId="{6BF5A597-FFF0-2141-A357-76706534BA8D}" type="pres">
      <dgm:prSet presAssocID="{3CDE34C8-3F27-B44D-B584-7DCB0F57C41E}" presName="conn2-1" presStyleLbl="parChTrans1D2" presStyleIdx="0" presStyleCnt="4"/>
      <dgm:spPr/>
      <dgm:t>
        <a:bodyPr/>
        <a:lstStyle/>
        <a:p>
          <a:endParaRPr lang="en-US"/>
        </a:p>
      </dgm:t>
    </dgm:pt>
    <dgm:pt modelId="{F47D1467-DF7A-1948-86F3-3D3CA09A76F6}" type="pres">
      <dgm:prSet presAssocID="{3CDE34C8-3F27-B44D-B584-7DCB0F57C41E}" presName="connTx" presStyleLbl="parChTrans1D2" presStyleIdx="0" presStyleCnt="4"/>
      <dgm:spPr/>
      <dgm:t>
        <a:bodyPr/>
        <a:lstStyle/>
        <a:p>
          <a:endParaRPr lang="en-US"/>
        </a:p>
      </dgm:t>
    </dgm:pt>
    <dgm:pt modelId="{42AACC66-6C60-1A4A-A3FE-2966D995CD7E}" type="pres">
      <dgm:prSet presAssocID="{78A0471C-DE17-954A-A2DA-D8502024AAAE}" presName="root2" presStyleCnt="0"/>
      <dgm:spPr/>
    </dgm:pt>
    <dgm:pt modelId="{A29427A7-5005-114D-BDBB-4AEAE398B994}" type="pres">
      <dgm:prSet presAssocID="{78A0471C-DE17-954A-A2DA-D8502024AAAE}" presName="LevelTwoTextNode" presStyleLbl="node2" presStyleIdx="0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98D7D17-B814-7A49-BB87-562937F8006A}" type="pres">
      <dgm:prSet presAssocID="{78A0471C-DE17-954A-A2DA-D8502024AAAE}" presName="level3hierChild" presStyleCnt="0"/>
      <dgm:spPr/>
    </dgm:pt>
    <dgm:pt modelId="{D74B3F62-33AA-FA4C-B121-869B371A636E}" type="pres">
      <dgm:prSet presAssocID="{0108B709-A333-0241-9A8C-DF0E25359F69}" presName="conn2-1" presStyleLbl="parChTrans1D2" presStyleIdx="1" presStyleCnt="4"/>
      <dgm:spPr/>
      <dgm:t>
        <a:bodyPr/>
        <a:lstStyle/>
        <a:p>
          <a:endParaRPr lang="en-US"/>
        </a:p>
      </dgm:t>
    </dgm:pt>
    <dgm:pt modelId="{7019ED26-F5A4-6240-98CD-31A4BC0DF91E}" type="pres">
      <dgm:prSet presAssocID="{0108B709-A333-0241-9A8C-DF0E25359F69}" presName="connTx" presStyleLbl="parChTrans1D2" presStyleIdx="1" presStyleCnt="4"/>
      <dgm:spPr/>
      <dgm:t>
        <a:bodyPr/>
        <a:lstStyle/>
        <a:p>
          <a:endParaRPr lang="en-US"/>
        </a:p>
      </dgm:t>
    </dgm:pt>
    <dgm:pt modelId="{8E6AEEE3-216B-5140-A3C7-096C72DB9B2D}" type="pres">
      <dgm:prSet presAssocID="{4722E111-9C85-4540-9839-EBF4012D5C55}" presName="root2" presStyleCnt="0"/>
      <dgm:spPr/>
    </dgm:pt>
    <dgm:pt modelId="{C7FD7335-2439-2B4E-A679-E485696DAFE4}" type="pres">
      <dgm:prSet presAssocID="{4722E111-9C85-4540-9839-EBF4012D5C55}" presName="LevelTwoTextNode" presStyleLbl="node2" presStyleIdx="1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75AAF33-C7BA-C64C-877C-C6F059BBEB8F}" type="pres">
      <dgm:prSet presAssocID="{4722E111-9C85-4540-9839-EBF4012D5C55}" presName="level3hierChild" presStyleCnt="0"/>
      <dgm:spPr/>
    </dgm:pt>
    <dgm:pt modelId="{417CB798-920C-E94E-B1E5-9F4FBBE93246}" type="pres">
      <dgm:prSet presAssocID="{A2F8CF90-54AE-7647-AC37-EAB1F4DACD88}" presName="conn2-1" presStyleLbl="parChTrans1D2" presStyleIdx="2" presStyleCnt="4"/>
      <dgm:spPr/>
      <dgm:t>
        <a:bodyPr/>
        <a:lstStyle/>
        <a:p>
          <a:endParaRPr lang="en-US"/>
        </a:p>
      </dgm:t>
    </dgm:pt>
    <dgm:pt modelId="{DDFFA2C0-72EF-9B40-9044-9584F21CC3F5}" type="pres">
      <dgm:prSet presAssocID="{A2F8CF90-54AE-7647-AC37-EAB1F4DACD88}" presName="connTx" presStyleLbl="parChTrans1D2" presStyleIdx="2" presStyleCnt="4"/>
      <dgm:spPr/>
      <dgm:t>
        <a:bodyPr/>
        <a:lstStyle/>
        <a:p>
          <a:endParaRPr lang="en-US"/>
        </a:p>
      </dgm:t>
    </dgm:pt>
    <dgm:pt modelId="{91E08A3C-4532-0949-BE61-4F208D2B5EAA}" type="pres">
      <dgm:prSet presAssocID="{DC0B1877-D750-D745-B81C-7C96DA1EE90D}" presName="root2" presStyleCnt="0"/>
      <dgm:spPr/>
    </dgm:pt>
    <dgm:pt modelId="{28F772A1-426C-A949-98DF-E6B3CE6F2CCE}" type="pres">
      <dgm:prSet presAssocID="{DC0B1877-D750-D745-B81C-7C96DA1EE90D}" presName="LevelTwoTextNode" presStyleLbl="node2" presStyleIdx="2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1288A1E-97A4-7A40-A743-716BF1EE4447}" type="pres">
      <dgm:prSet presAssocID="{DC0B1877-D750-D745-B81C-7C96DA1EE90D}" presName="level3hierChild" presStyleCnt="0"/>
      <dgm:spPr/>
    </dgm:pt>
    <dgm:pt modelId="{F7AC789D-EEC6-3F48-9351-0CE791653F12}" type="pres">
      <dgm:prSet presAssocID="{8D6AF19A-B3C5-3D43-90A8-4BAE922F621B}" presName="conn2-1" presStyleLbl="parChTrans1D2" presStyleIdx="3" presStyleCnt="4"/>
      <dgm:spPr/>
      <dgm:t>
        <a:bodyPr/>
        <a:lstStyle/>
        <a:p>
          <a:endParaRPr lang="en-US"/>
        </a:p>
      </dgm:t>
    </dgm:pt>
    <dgm:pt modelId="{8880BC17-AF07-A74D-A317-6DC16314CA7B}" type="pres">
      <dgm:prSet presAssocID="{8D6AF19A-B3C5-3D43-90A8-4BAE922F621B}" presName="connTx" presStyleLbl="parChTrans1D2" presStyleIdx="3" presStyleCnt="4"/>
      <dgm:spPr/>
      <dgm:t>
        <a:bodyPr/>
        <a:lstStyle/>
        <a:p>
          <a:endParaRPr lang="en-US"/>
        </a:p>
      </dgm:t>
    </dgm:pt>
    <dgm:pt modelId="{A8278915-D29F-0648-BFBF-F43BC1675DCF}" type="pres">
      <dgm:prSet presAssocID="{8F2307D4-F400-404F-B1ED-092A6C1655D4}" presName="root2" presStyleCnt="0"/>
      <dgm:spPr/>
    </dgm:pt>
    <dgm:pt modelId="{6175B1BF-D474-E140-AF0A-B0C1A8D59661}" type="pres">
      <dgm:prSet presAssocID="{8F2307D4-F400-404F-B1ED-092A6C1655D4}" presName="LevelTwoTextNode" presStyleLbl="node2" presStyleIdx="3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123FF12-68DF-4843-9A1A-F3F694A729C8}" type="pres">
      <dgm:prSet presAssocID="{8F2307D4-F400-404F-B1ED-092A6C1655D4}" presName="level3hierChild" presStyleCnt="0"/>
      <dgm:spPr/>
    </dgm:pt>
  </dgm:ptLst>
  <dgm:cxnLst>
    <dgm:cxn modelId="{465B1BA4-5E8C-4FD4-8610-9E241F1110DC}" type="presOf" srcId="{0108B709-A333-0241-9A8C-DF0E25359F69}" destId="{7019ED26-F5A4-6240-98CD-31A4BC0DF91E}" srcOrd="1" destOrd="0" presId="urn:microsoft.com/office/officeart/2008/layout/HorizontalMultiLevelHierarchy"/>
    <dgm:cxn modelId="{21BFC6C1-0262-489F-8659-FEEC9608C204}" type="presOf" srcId="{8D6AF19A-B3C5-3D43-90A8-4BAE922F621B}" destId="{8880BC17-AF07-A74D-A317-6DC16314CA7B}" srcOrd="1" destOrd="0" presId="urn:microsoft.com/office/officeart/2008/layout/HorizontalMultiLevelHierarchy"/>
    <dgm:cxn modelId="{44E6A3E8-E6E0-F146-AE5A-BBA2F67FF106}" srcId="{C6CDD395-F998-744E-9DA5-F248052A3F8A}" destId="{8F2307D4-F400-404F-B1ED-092A6C1655D4}" srcOrd="3" destOrd="0" parTransId="{8D6AF19A-B3C5-3D43-90A8-4BAE922F621B}" sibTransId="{9E90EE87-2E88-4348-9486-ABF4EC9A1E93}"/>
    <dgm:cxn modelId="{AE65F5C8-7943-A943-A016-5E77311DCEBD}" srcId="{C33EBB76-30E4-8742-ABC8-F8FD8D2624EB}" destId="{C6CDD395-F998-744E-9DA5-F248052A3F8A}" srcOrd="0" destOrd="0" parTransId="{6A83C0D3-07E4-EC4A-9A6B-F3CF1AAB66F1}" sibTransId="{FF474942-40EA-704F-965A-F6B366961E6E}"/>
    <dgm:cxn modelId="{A2C9594C-3821-434D-B0C8-25A1E9E7D6A1}" type="presOf" srcId="{C6CDD395-F998-744E-9DA5-F248052A3F8A}" destId="{3FB1469F-8AEB-9542-B801-F6FAB1A7F24F}" srcOrd="0" destOrd="0" presId="urn:microsoft.com/office/officeart/2008/layout/HorizontalMultiLevelHierarchy"/>
    <dgm:cxn modelId="{61419FA6-62BE-F941-90BB-13750418C227}" srcId="{C6CDD395-F998-744E-9DA5-F248052A3F8A}" destId="{4722E111-9C85-4540-9839-EBF4012D5C55}" srcOrd="1" destOrd="0" parTransId="{0108B709-A333-0241-9A8C-DF0E25359F69}" sibTransId="{7E8D1F17-EDA5-F440-A384-8860E271185E}"/>
    <dgm:cxn modelId="{4A1FC5B2-68F1-4378-BCDD-F894A7DB751F}" type="presOf" srcId="{A2F8CF90-54AE-7647-AC37-EAB1F4DACD88}" destId="{417CB798-920C-E94E-B1E5-9F4FBBE93246}" srcOrd="0" destOrd="0" presId="urn:microsoft.com/office/officeart/2008/layout/HorizontalMultiLevelHierarchy"/>
    <dgm:cxn modelId="{091B9FAF-D508-45CB-8242-EA2D06F3D0FD}" type="presOf" srcId="{8D6AF19A-B3C5-3D43-90A8-4BAE922F621B}" destId="{F7AC789D-EEC6-3F48-9351-0CE791653F12}" srcOrd="0" destOrd="0" presId="urn:microsoft.com/office/officeart/2008/layout/HorizontalMultiLevelHierarchy"/>
    <dgm:cxn modelId="{61C2E5E3-12F2-47E7-9FBA-7D9E1A3F20C2}" type="presOf" srcId="{78A0471C-DE17-954A-A2DA-D8502024AAAE}" destId="{A29427A7-5005-114D-BDBB-4AEAE398B994}" srcOrd="0" destOrd="0" presId="urn:microsoft.com/office/officeart/2008/layout/HorizontalMultiLevelHierarchy"/>
    <dgm:cxn modelId="{87BE2731-6DFC-43C4-A25F-C92025AD2716}" type="presOf" srcId="{3CDE34C8-3F27-B44D-B584-7DCB0F57C41E}" destId="{6BF5A597-FFF0-2141-A357-76706534BA8D}" srcOrd="0" destOrd="0" presId="urn:microsoft.com/office/officeart/2008/layout/HorizontalMultiLevelHierarchy"/>
    <dgm:cxn modelId="{733EDC29-0BF8-47C5-A05C-D3B8BFBBF871}" type="presOf" srcId="{C33EBB76-30E4-8742-ABC8-F8FD8D2624EB}" destId="{ECF894A3-4E95-1D48-B0C9-62985B859809}" srcOrd="0" destOrd="0" presId="urn:microsoft.com/office/officeart/2008/layout/HorizontalMultiLevelHierarchy"/>
    <dgm:cxn modelId="{FF4B5A75-F1B5-044F-8C54-6ADCB74E8BF5}" srcId="{C6CDD395-F998-744E-9DA5-F248052A3F8A}" destId="{DC0B1877-D750-D745-B81C-7C96DA1EE90D}" srcOrd="2" destOrd="0" parTransId="{A2F8CF90-54AE-7647-AC37-EAB1F4DACD88}" sibTransId="{65016698-2DCF-9F47-8809-01A37E7C15A1}"/>
    <dgm:cxn modelId="{80A17B56-9ADA-F44A-8784-BF9042ACD22E}" srcId="{C6CDD395-F998-744E-9DA5-F248052A3F8A}" destId="{78A0471C-DE17-954A-A2DA-D8502024AAAE}" srcOrd="0" destOrd="0" parTransId="{3CDE34C8-3F27-B44D-B584-7DCB0F57C41E}" sibTransId="{88EBED7C-41E7-C34A-BACE-91DFE0AA5045}"/>
    <dgm:cxn modelId="{22E71B84-51FC-45E4-8D36-C744D4A5A75C}" type="presOf" srcId="{4722E111-9C85-4540-9839-EBF4012D5C55}" destId="{C7FD7335-2439-2B4E-A679-E485696DAFE4}" srcOrd="0" destOrd="0" presId="urn:microsoft.com/office/officeart/2008/layout/HorizontalMultiLevelHierarchy"/>
    <dgm:cxn modelId="{CB43D9BA-AEA0-44C2-B7D3-B009EC6F7B40}" type="presOf" srcId="{0108B709-A333-0241-9A8C-DF0E25359F69}" destId="{D74B3F62-33AA-FA4C-B121-869B371A636E}" srcOrd="0" destOrd="0" presId="urn:microsoft.com/office/officeart/2008/layout/HorizontalMultiLevelHierarchy"/>
    <dgm:cxn modelId="{88027892-7964-442B-9F5E-04DEC25B454C}" type="presOf" srcId="{A2F8CF90-54AE-7647-AC37-EAB1F4DACD88}" destId="{DDFFA2C0-72EF-9B40-9044-9584F21CC3F5}" srcOrd="1" destOrd="0" presId="urn:microsoft.com/office/officeart/2008/layout/HorizontalMultiLevelHierarchy"/>
    <dgm:cxn modelId="{2283054D-61BA-4036-AAF5-07B1BC3A1BD4}" type="presOf" srcId="{8F2307D4-F400-404F-B1ED-092A6C1655D4}" destId="{6175B1BF-D474-E140-AF0A-B0C1A8D59661}" srcOrd="0" destOrd="0" presId="urn:microsoft.com/office/officeart/2008/layout/HorizontalMultiLevelHierarchy"/>
    <dgm:cxn modelId="{B2CE68A3-3A86-4BBC-B9B2-5DB38516AF80}" type="presOf" srcId="{DC0B1877-D750-D745-B81C-7C96DA1EE90D}" destId="{28F772A1-426C-A949-98DF-E6B3CE6F2CCE}" srcOrd="0" destOrd="0" presId="urn:microsoft.com/office/officeart/2008/layout/HorizontalMultiLevelHierarchy"/>
    <dgm:cxn modelId="{EDEF49FB-5237-4B1D-8498-13AB9C29CD45}" type="presOf" srcId="{3CDE34C8-3F27-B44D-B584-7DCB0F57C41E}" destId="{F47D1467-DF7A-1948-86F3-3D3CA09A76F6}" srcOrd="1" destOrd="0" presId="urn:microsoft.com/office/officeart/2008/layout/HorizontalMultiLevelHierarchy"/>
    <dgm:cxn modelId="{261C88B6-5670-44A3-8269-5A89C4C624B0}" type="presParOf" srcId="{ECF894A3-4E95-1D48-B0C9-62985B859809}" destId="{BBB67204-21CF-5044-965E-4DD810C8EE20}" srcOrd="0" destOrd="0" presId="urn:microsoft.com/office/officeart/2008/layout/HorizontalMultiLevelHierarchy"/>
    <dgm:cxn modelId="{FEE3702D-8ECE-40C0-88D1-1C604A31C558}" type="presParOf" srcId="{BBB67204-21CF-5044-965E-4DD810C8EE20}" destId="{3FB1469F-8AEB-9542-B801-F6FAB1A7F24F}" srcOrd="0" destOrd="0" presId="urn:microsoft.com/office/officeart/2008/layout/HorizontalMultiLevelHierarchy"/>
    <dgm:cxn modelId="{04E6AFE5-C43C-4B00-AC22-AA77BE2E6984}" type="presParOf" srcId="{BBB67204-21CF-5044-965E-4DD810C8EE20}" destId="{F6C346BA-3D36-284C-8A4F-1F9DEE07D398}" srcOrd="1" destOrd="0" presId="urn:microsoft.com/office/officeart/2008/layout/HorizontalMultiLevelHierarchy"/>
    <dgm:cxn modelId="{448C9A3D-9308-47CC-931C-2B3DC4A947D2}" type="presParOf" srcId="{F6C346BA-3D36-284C-8A4F-1F9DEE07D398}" destId="{6BF5A597-FFF0-2141-A357-76706534BA8D}" srcOrd="0" destOrd="0" presId="urn:microsoft.com/office/officeart/2008/layout/HorizontalMultiLevelHierarchy"/>
    <dgm:cxn modelId="{1513E578-45A6-4C3C-A83A-286E90909FA0}" type="presParOf" srcId="{6BF5A597-FFF0-2141-A357-76706534BA8D}" destId="{F47D1467-DF7A-1948-86F3-3D3CA09A76F6}" srcOrd="0" destOrd="0" presId="urn:microsoft.com/office/officeart/2008/layout/HorizontalMultiLevelHierarchy"/>
    <dgm:cxn modelId="{E1DCE8D8-8014-4E67-AFC4-46560B6F164B}" type="presParOf" srcId="{F6C346BA-3D36-284C-8A4F-1F9DEE07D398}" destId="{42AACC66-6C60-1A4A-A3FE-2966D995CD7E}" srcOrd="1" destOrd="0" presId="urn:microsoft.com/office/officeart/2008/layout/HorizontalMultiLevelHierarchy"/>
    <dgm:cxn modelId="{FE0F9050-D2F2-466A-96AA-54EE800EE3B3}" type="presParOf" srcId="{42AACC66-6C60-1A4A-A3FE-2966D995CD7E}" destId="{A29427A7-5005-114D-BDBB-4AEAE398B994}" srcOrd="0" destOrd="0" presId="urn:microsoft.com/office/officeart/2008/layout/HorizontalMultiLevelHierarchy"/>
    <dgm:cxn modelId="{EF3948B2-5E11-46A2-B874-A2B126ECFCDE}" type="presParOf" srcId="{42AACC66-6C60-1A4A-A3FE-2966D995CD7E}" destId="{898D7D17-B814-7A49-BB87-562937F8006A}" srcOrd="1" destOrd="0" presId="urn:microsoft.com/office/officeart/2008/layout/HorizontalMultiLevelHierarchy"/>
    <dgm:cxn modelId="{27285637-FE9F-4C64-9444-283823C040A5}" type="presParOf" srcId="{F6C346BA-3D36-284C-8A4F-1F9DEE07D398}" destId="{D74B3F62-33AA-FA4C-B121-869B371A636E}" srcOrd="2" destOrd="0" presId="urn:microsoft.com/office/officeart/2008/layout/HorizontalMultiLevelHierarchy"/>
    <dgm:cxn modelId="{A3B733FC-BBC9-4462-AF93-BD92E9AE6918}" type="presParOf" srcId="{D74B3F62-33AA-FA4C-B121-869B371A636E}" destId="{7019ED26-F5A4-6240-98CD-31A4BC0DF91E}" srcOrd="0" destOrd="0" presId="urn:microsoft.com/office/officeart/2008/layout/HorizontalMultiLevelHierarchy"/>
    <dgm:cxn modelId="{C8EFAF52-AA32-4049-99C3-E7CBE6089ED0}" type="presParOf" srcId="{F6C346BA-3D36-284C-8A4F-1F9DEE07D398}" destId="{8E6AEEE3-216B-5140-A3C7-096C72DB9B2D}" srcOrd="3" destOrd="0" presId="urn:microsoft.com/office/officeart/2008/layout/HorizontalMultiLevelHierarchy"/>
    <dgm:cxn modelId="{28484988-5B43-40CB-935D-3E244A5B084A}" type="presParOf" srcId="{8E6AEEE3-216B-5140-A3C7-096C72DB9B2D}" destId="{C7FD7335-2439-2B4E-A679-E485696DAFE4}" srcOrd="0" destOrd="0" presId="urn:microsoft.com/office/officeart/2008/layout/HorizontalMultiLevelHierarchy"/>
    <dgm:cxn modelId="{10C9EDF5-D326-47A4-9F43-2223CCCD2A72}" type="presParOf" srcId="{8E6AEEE3-216B-5140-A3C7-096C72DB9B2D}" destId="{C75AAF33-C7BA-C64C-877C-C6F059BBEB8F}" srcOrd="1" destOrd="0" presId="urn:microsoft.com/office/officeart/2008/layout/HorizontalMultiLevelHierarchy"/>
    <dgm:cxn modelId="{9EF5F1E4-2706-4932-A247-9C1B4923E7F8}" type="presParOf" srcId="{F6C346BA-3D36-284C-8A4F-1F9DEE07D398}" destId="{417CB798-920C-E94E-B1E5-9F4FBBE93246}" srcOrd="4" destOrd="0" presId="urn:microsoft.com/office/officeart/2008/layout/HorizontalMultiLevelHierarchy"/>
    <dgm:cxn modelId="{3883728B-F621-473A-A88A-C871AE819F6A}" type="presParOf" srcId="{417CB798-920C-E94E-B1E5-9F4FBBE93246}" destId="{DDFFA2C0-72EF-9B40-9044-9584F21CC3F5}" srcOrd="0" destOrd="0" presId="urn:microsoft.com/office/officeart/2008/layout/HorizontalMultiLevelHierarchy"/>
    <dgm:cxn modelId="{35DB7A7D-CC2C-4B8A-9D47-0780E0324A35}" type="presParOf" srcId="{F6C346BA-3D36-284C-8A4F-1F9DEE07D398}" destId="{91E08A3C-4532-0949-BE61-4F208D2B5EAA}" srcOrd="5" destOrd="0" presId="urn:microsoft.com/office/officeart/2008/layout/HorizontalMultiLevelHierarchy"/>
    <dgm:cxn modelId="{9901D597-BC80-4F88-9E06-C1AD4A049441}" type="presParOf" srcId="{91E08A3C-4532-0949-BE61-4F208D2B5EAA}" destId="{28F772A1-426C-A949-98DF-E6B3CE6F2CCE}" srcOrd="0" destOrd="0" presId="urn:microsoft.com/office/officeart/2008/layout/HorizontalMultiLevelHierarchy"/>
    <dgm:cxn modelId="{237D0AA6-B1AB-4D9F-870A-9863844037C3}" type="presParOf" srcId="{91E08A3C-4532-0949-BE61-4F208D2B5EAA}" destId="{A1288A1E-97A4-7A40-A743-716BF1EE4447}" srcOrd="1" destOrd="0" presId="urn:microsoft.com/office/officeart/2008/layout/HorizontalMultiLevelHierarchy"/>
    <dgm:cxn modelId="{00E378CA-5CEB-400F-A49F-BB3D506BA07D}" type="presParOf" srcId="{F6C346BA-3D36-284C-8A4F-1F9DEE07D398}" destId="{F7AC789D-EEC6-3F48-9351-0CE791653F12}" srcOrd="6" destOrd="0" presId="urn:microsoft.com/office/officeart/2008/layout/HorizontalMultiLevelHierarchy"/>
    <dgm:cxn modelId="{0750A6D9-93FB-4D41-9489-C1F63D2CAC8B}" type="presParOf" srcId="{F7AC789D-EEC6-3F48-9351-0CE791653F12}" destId="{8880BC17-AF07-A74D-A317-6DC16314CA7B}" srcOrd="0" destOrd="0" presId="urn:microsoft.com/office/officeart/2008/layout/HorizontalMultiLevelHierarchy"/>
    <dgm:cxn modelId="{20FABBE9-E889-49DA-BB80-12F59F49418E}" type="presParOf" srcId="{F6C346BA-3D36-284C-8A4F-1F9DEE07D398}" destId="{A8278915-D29F-0648-BFBF-F43BC1675DCF}" srcOrd="7" destOrd="0" presId="urn:microsoft.com/office/officeart/2008/layout/HorizontalMultiLevelHierarchy"/>
    <dgm:cxn modelId="{829C87DC-A9A6-4DB0-9FFE-750885A463C0}" type="presParOf" srcId="{A8278915-D29F-0648-BFBF-F43BC1675DCF}" destId="{6175B1BF-D474-E140-AF0A-B0C1A8D59661}" srcOrd="0" destOrd="0" presId="urn:microsoft.com/office/officeart/2008/layout/HorizontalMultiLevelHierarchy"/>
    <dgm:cxn modelId="{BA31F899-692C-4100-A3DF-C1CBECB85D40}" type="presParOf" srcId="{A8278915-D29F-0648-BFBF-F43BC1675DCF}" destId="{8123FF12-68DF-4843-9A1A-F3F694A729C8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B211AA74-82B4-D445-AEF7-14FDC7DAF2AF}" type="doc">
      <dgm:prSet loTypeId="urn:microsoft.com/office/officeart/2005/8/layout/vList6" loCatId="" qsTypeId="urn:microsoft.com/office/officeart/2005/8/quickstyle/simple4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4799DAAB-B1A1-CC4C-82E4-60F291F28313}">
      <dgm:prSet phldrT="[Text]"/>
      <dgm:spPr/>
      <dgm:t>
        <a:bodyPr/>
        <a:lstStyle/>
        <a:p>
          <a:r>
            <a:rPr lang="en-US" dirty="0" smtClean="0"/>
            <a:t>4th Quarter</a:t>
          </a:r>
          <a:endParaRPr lang="en-US" dirty="0"/>
        </a:p>
      </dgm:t>
    </dgm:pt>
    <dgm:pt modelId="{D8213BCE-EDDD-904A-919F-9292E0A82155}" type="parTrans" cxnId="{1DF94C6B-1977-5245-964F-D7D441688FCF}">
      <dgm:prSet/>
      <dgm:spPr/>
      <dgm:t>
        <a:bodyPr/>
        <a:lstStyle/>
        <a:p>
          <a:endParaRPr lang="en-US"/>
        </a:p>
      </dgm:t>
    </dgm:pt>
    <dgm:pt modelId="{0D23FF18-B338-BE42-A0AB-7E472C96FCF2}" type="sibTrans" cxnId="{1DF94C6B-1977-5245-964F-D7D441688FCF}">
      <dgm:prSet/>
      <dgm:spPr/>
      <dgm:t>
        <a:bodyPr/>
        <a:lstStyle/>
        <a:p>
          <a:endParaRPr lang="en-US"/>
        </a:p>
      </dgm:t>
    </dgm:pt>
    <dgm:pt modelId="{0740C364-BC97-A74E-954C-1F2DD8BCC436}">
      <dgm:prSet phldrT="[Text]" custT="1"/>
      <dgm:spPr/>
      <dgm:t>
        <a:bodyPr/>
        <a:lstStyle/>
        <a:p>
          <a:r>
            <a:rPr lang="en-US" sz="1600" dirty="0" smtClean="0"/>
            <a:t>Cut down on unwanted R&amp;D and focus on development on niche Enterprise products</a:t>
          </a:r>
          <a:endParaRPr lang="en-US" sz="1600" dirty="0"/>
        </a:p>
      </dgm:t>
    </dgm:pt>
    <dgm:pt modelId="{EEC734E0-635B-D24D-876E-CE40E0AC1014}" type="parTrans" cxnId="{A1FD840F-8063-444C-9D2D-F10FDD0CC564}">
      <dgm:prSet/>
      <dgm:spPr/>
      <dgm:t>
        <a:bodyPr/>
        <a:lstStyle/>
        <a:p>
          <a:endParaRPr lang="en-US"/>
        </a:p>
      </dgm:t>
    </dgm:pt>
    <dgm:pt modelId="{2D5ABBAA-8B10-8C48-85BA-091686EFF2A6}" type="sibTrans" cxnId="{A1FD840F-8063-444C-9D2D-F10FDD0CC564}">
      <dgm:prSet/>
      <dgm:spPr/>
      <dgm:t>
        <a:bodyPr/>
        <a:lstStyle/>
        <a:p>
          <a:endParaRPr lang="en-US"/>
        </a:p>
      </dgm:t>
    </dgm:pt>
    <dgm:pt modelId="{26A6A95F-EC16-6747-A0F7-3FF8904679F0}">
      <dgm:prSet phldrT="[Text]"/>
      <dgm:spPr/>
      <dgm:t>
        <a:bodyPr/>
        <a:lstStyle/>
        <a:p>
          <a:r>
            <a:rPr lang="en-US" dirty="0" smtClean="0"/>
            <a:t>2</a:t>
          </a:r>
          <a:r>
            <a:rPr lang="en-US" baseline="30000" dirty="0" smtClean="0"/>
            <a:t>nd</a:t>
          </a:r>
          <a:r>
            <a:rPr lang="en-US" dirty="0" smtClean="0"/>
            <a:t> Year</a:t>
          </a:r>
          <a:endParaRPr lang="en-US" dirty="0"/>
        </a:p>
      </dgm:t>
    </dgm:pt>
    <dgm:pt modelId="{1A04B025-C683-9B4D-9894-175CCB0E2C6B}" type="parTrans" cxnId="{D1D6E090-0445-E54C-9642-82724ED569DC}">
      <dgm:prSet/>
      <dgm:spPr/>
      <dgm:t>
        <a:bodyPr/>
        <a:lstStyle/>
        <a:p>
          <a:endParaRPr lang="en-US"/>
        </a:p>
      </dgm:t>
    </dgm:pt>
    <dgm:pt modelId="{BE9A52C9-2D7E-6042-8D46-E3D4796338F8}" type="sibTrans" cxnId="{D1D6E090-0445-E54C-9642-82724ED569DC}">
      <dgm:prSet/>
      <dgm:spPr/>
      <dgm:t>
        <a:bodyPr/>
        <a:lstStyle/>
        <a:p>
          <a:endParaRPr lang="en-US"/>
        </a:p>
      </dgm:t>
    </dgm:pt>
    <dgm:pt modelId="{9DB50C89-3F9B-1245-8DBA-341966963F15}">
      <dgm:prSet phldrT="[Text]"/>
      <dgm:spPr/>
      <dgm:t>
        <a:bodyPr/>
        <a:lstStyle/>
        <a:p>
          <a:r>
            <a:rPr lang="en-US" dirty="0" smtClean="0"/>
            <a:t>Introduce new Device integrated with Android</a:t>
          </a:r>
          <a:endParaRPr lang="en-US" dirty="0"/>
        </a:p>
      </dgm:t>
    </dgm:pt>
    <dgm:pt modelId="{2AC40342-6090-DA44-AC14-3D4B548DBF46}" type="parTrans" cxnId="{0FAF402C-F8EF-8243-911E-575609DBF93B}">
      <dgm:prSet/>
      <dgm:spPr/>
      <dgm:t>
        <a:bodyPr/>
        <a:lstStyle/>
        <a:p>
          <a:endParaRPr lang="en-US"/>
        </a:p>
      </dgm:t>
    </dgm:pt>
    <dgm:pt modelId="{0F125C77-CE8E-0B48-A1EC-58FC7DEECBBA}" type="sibTrans" cxnId="{0FAF402C-F8EF-8243-911E-575609DBF93B}">
      <dgm:prSet/>
      <dgm:spPr/>
      <dgm:t>
        <a:bodyPr/>
        <a:lstStyle/>
        <a:p>
          <a:endParaRPr lang="en-US"/>
        </a:p>
      </dgm:t>
    </dgm:pt>
    <dgm:pt modelId="{B1799219-BBC7-1E45-9626-7D8387A67126}">
      <dgm:prSet phldrT="[Text]"/>
      <dgm:spPr/>
      <dgm:t>
        <a:bodyPr/>
        <a:lstStyle/>
        <a:p>
          <a:r>
            <a:rPr lang="en-US" dirty="0" smtClean="0"/>
            <a:t>3</a:t>
          </a:r>
          <a:r>
            <a:rPr lang="en-US" baseline="30000" dirty="0" smtClean="0"/>
            <a:t>rd</a:t>
          </a:r>
          <a:r>
            <a:rPr lang="en-US" dirty="0" smtClean="0"/>
            <a:t> Year</a:t>
          </a:r>
          <a:endParaRPr lang="en-US" dirty="0"/>
        </a:p>
      </dgm:t>
    </dgm:pt>
    <dgm:pt modelId="{9F478688-3D5B-D54D-B2BE-E196925DC12C}" type="parTrans" cxnId="{F988FAE1-6151-6F4E-8E4C-395E21367342}">
      <dgm:prSet/>
      <dgm:spPr/>
      <dgm:t>
        <a:bodyPr/>
        <a:lstStyle/>
        <a:p>
          <a:endParaRPr lang="en-US"/>
        </a:p>
      </dgm:t>
    </dgm:pt>
    <dgm:pt modelId="{20C1E598-E3EB-BC4B-B01C-5FEFCD7B45F0}" type="sibTrans" cxnId="{F988FAE1-6151-6F4E-8E4C-395E21367342}">
      <dgm:prSet/>
      <dgm:spPr/>
      <dgm:t>
        <a:bodyPr/>
        <a:lstStyle/>
        <a:p>
          <a:endParaRPr lang="en-US"/>
        </a:p>
      </dgm:t>
    </dgm:pt>
    <dgm:pt modelId="{FC73CBFF-4166-FB46-91E9-72261F30B23B}">
      <dgm:prSet phldrT="[Text]"/>
      <dgm:spPr/>
      <dgm:t>
        <a:bodyPr/>
        <a:lstStyle/>
        <a:p>
          <a:r>
            <a:rPr lang="en-US" dirty="0" smtClean="0"/>
            <a:t>Focus on increasing market share and margins</a:t>
          </a:r>
          <a:endParaRPr lang="en-US" dirty="0"/>
        </a:p>
      </dgm:t>
    </dgm:pt>
    <dgm:pt modelId="{902F1048-30E8-0243-9300-033E3FC615D6}" type="parTrans" cxnId="{AF44115F-1801-6646-8246-06017C773CB5}">
      <dgm:prSet/>
      <dgm:spPr/>
      <dgm:t>
        <a:bodyPr/>
        <a:lstStyle/>
        <a:p>
          <a:endParaRPr lang="en-US"/>
        </a:p>
      </dgm:t>
    </dgm:pt>
    <dgm:pt modelId="{264DA4EE-7D6D-5B43-801E-660A21ACD2DB}" type="sibTrans" cxnId="{AF44115F-1801-6646-8246-06017C773CB5}">
      <dgm:prSet/>
      <dgm:spPr/>
      <dgm:t>
        <a:bodyPr/>
        <a:lstStyle/>
        <a:p>
          <a:endParaRPr lang="en-US"/>
        </a:p>
      </dgm:t>
    </dgm:pt>
    <dgm:pt modelId="{EE7821FF-09D6-6343-8775-4A23C22C2B21}">
      <dgm:prSet phldrT="[Text]"/>
      <dgm:spPr/>
      <dgm:t>
        <a:bodyPr/>
        <a:lstStyle/>
        <a:p>
          <a:r>
            <a:rPr lang="en-US" dirty="0" smtClean="0"/>
            <a:t>Extensive Marketing</a:t>
          </a:r>
          <a:endParaRPr lang="en-US" dirty="0"/>
        </a:p>
      </dgm:t>
    </dgm:pt>
    <dgm:pt modelId="{E530F738-6A6E-B74B-851F-88AE979C75AC}" type="parTrans" cxnId="{DCF824DF-06F7-2348-94AE-B088EAB79EF8}">
      <dgm:prSet/>
      <dgm:spPr/>
      <dgm:t>
        <a:bodyPr/>
        <a:lstStyle/>
        <a:p>
          <a:endParaRPr lang="en-US"/>
        </a:p>
      </dgm:t>
    </dgm:pt>
    <dgm:pt modelId="{337355C0-6858-FF4B-BC97-D573934A5322}" type="sibTrans" cxnId="{DCF824DF-06F7-2348-94AE-B088EAB79EF8}">
      <dgm:prSet/>
      <dgm:spPr/>
      <dgm:t>
        <a:bodyPr/>
        <a:lstStyle/>
        <a:p>
          <a:endParaRPr lang="en-US"/>
        </a:p>
      </dgm:t>
    </dgm:pt>
    <dgm:pt modelId="{84B5D480-17DD-AC40-8A75-1B2C9364B159}">
      <dgm:prSet phldrT="[Text]"/>
      <dgm:spPr/>
      <dgm:t>
        <a:bodyPr/>
        <a:lstStyle/>
        <a:p>
          <a:endParaRPr lang="en-US" dirty="0"/>
        </a:p>
      </dgm:t>
    </dgm:pt>
    <dgm:pt modelId="{70DEA463-CF92-D345-A458-C1CDF4739DBB}" type="parTrans" cxnId="{5A13CF30-456C-0F42-BCD2-483633748AA0}">
      <dgm:prSet/>
      <dgm:spPr/>
      <dgm:t>
        <a:bodyPr/>
        <a:lstStyle/>
        <a:p>
          <a:endParaRPr lang="en-US"/>
        </a:p>
      </dgm:t>
    </dgm:pt>
    <dgm:pt modelId="{02F8F113-9413-E949-BD25-8EF15DEAAFE8}" type="sibTrans" cxnId="{5A13CF30-456C-0F42-BCD2-483633748AA0}">
      <dgm:prSet/>
      <dgm:spPr/>
      <dgm:t>
        <a:bodyPr/>
        <a:lstStyle/>
        <a:p>
          <a:endParaRPr lang="en-US"/>
        </a:p>
      </dgm:t>
    </dgm:pt>
    <dgm:pt modelId="{24162CF1-B36D-EC45-9E47-8EF8A46A3194}">
      <dgm:prSet phldrT="[Text]" custT="1"/>
      <dgm:spPr/>
      <dgm:t>
        <a:bodyPr/>
        <a:lstStyle/>
        <a:p>
          <a:endParaRPr lang="en-US" sz="1600" dirty="0"/>
        </a:p>
      </dgm:t>
    </dgm:pt>
    <dgm:pt modelId="{87C99EB7-6F70-1A41-A099-DA68C65BEE83}" type="parTrans" cxnId="{3818BE73-9607-964D-B96E-E2AA7C20C7F9}">
      <dgm:prSet/>
      <dgm:spPr/>
      <dgm:t>
        <a:bodyPr/>
        <a:lstStyle/>
        <a:p>
          <a:endParaRPr lang="en-US"/>
        </a:p>
      </dgm:t>
    </dgm:pt>
    <dgm:pt modelId="{EE116330-88D6-2A4F-845E-0850A0735E3A}" type="sibTrans" cxnId="{3818BE73-9607-964D-B96E-E2AA7C20C7F9}">
      <dgm:prSet/>
      <dgm:spPr/>
      <dgm:t>
        <a:bodyPr/>
        <a:lstStyle/>
        <a:p>
          <a:endParaRPr lang="en-US"/>
        </a:p>
      </dgm:t>
    </dgm:pt>
    <dgm:pt modelId="{A12DA061-1A54-C343-8D55-3C2D71F12AE3}">
      <dgm:prSet phldrT="[Text]"/>
      <dgm:spPr/>
      <dgm:t>
        <a:bodyPr/>
        <a:lstStyle/>
        <a:p>
          <a:endParaRPr lang="en-US" dirty="0"/>
        </a:p>
      </dgm:t>
    </dgm:pt>
    <dgm:pt modelId="{E63D6167-7AE2-A64E-9CAB-B4BCA80FA0B2}" type="parTrans" cxnId="{52070A2F-EF0A-0B44-B85E-B25E240877A3}">
      <dgm:prSet/>
      <dgm:spPr/>
      <dgm:t>
        <a:bodyPr/>
        <a:lstStyle/>
        <a:p>
          <a:endParaRPr lang="en-US"/>
        </a:p>
      </dgm:t>
    </dgm:pt>
    <dgm:pt modelId="{703A48E1-CA96-1D4B-B113-12DDF81534C0}" type="sibTrans" cxnId="{52070A2F-EF0A-0B44-B85E-B25E240877A3}">
      <dgm:prSet/>
      <dgm:spPr/>
      <dgm:t>
        <a:bodyPr/>
        <a:lstStyle/>
        <a:p>
          <a:endParaRPr lang="en-US"/>
        </a:p>
      </dgm:t>
    </dgm:pt>
    <dgm:pt modelId="{E6D2B939-082E-5549-93FD-F7B26A916233}" type="pres">
      <dgm:prSet presAssocID="{B211AA74-82B4-D445-AEF7-14FDC7DAF2AF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C8D1DD5B-D6C5-3C42-9C52-315FFCBEDCFB}" type="pres">
      <dgm:prSet presAssocID="{4799DAAB-B1A1-CC4C-82E4-60F291F28313}" presName="linNode" presStyleCnt="0"/>
      <dgm:spPr/>
    </dgm:pt>
    <dgm:pt modelId="{63C99153-E32F-0141-9790-7DAFBBF28D1D}" type="pres">
      <dgm:prSet presAssocID="{4799DAAB-B1A1-CC4C-82E4-60F291F28313}" presName="parentShp" presStyleLbl="node1" presStyleIdx="0" presStyleCnt="3" custScaleX="7588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73D942A-DCEE-DA49-A276-DD368AC45642}" type="pres">
      <dgm:prSet presAssocID="{4799DAAB-B1A1-CC4C-82E4-60F291F28313}" presName="childShp" presStyleLbl="b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FE92932-4A9F-3E42-91C6-B5E21D9D59C0}" type="pres">
      <dgm:prSet presAssocID="{0D23FF18-B338-BE42-A0AB-7E472C96FCF2}" presName="spacing" presStyleCnt="0"/>
      <dgm:spPr/>
    </dgm:pt>
    <dgm:pt modelId="{A6D17931-A462-CC42-B077-87D737C7C020}" type="pres">
      <dgm:prSet presAssocID="{26A6A95F-EC16-6747-A0F7-3FF8904679F0}" presName="linNode" presStyleCnt="0"/>
      <dgm:spPr/>
    </dgm:pt>
    <dgm:pt modelId="{87940271-5C54-B447-9B57-FF73C0F06F09}" type="pres">
      <dgm:prSet presAssocID="{26A6A95F-EC16-6747-A0F7-3FF8904679F0}" presName="parentShp" presStyleLbl="node1" presStyleIdx="1" presStyleCnt="3" custScaleX="7604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DBCC88-F131-FA46-8963-3AD65A26C5B8}" type="pres">
      <dgm:prSet presAssocID="{26A6A95F-EC16-6747-A0F7-3FF8904679F0}" presName="childShp" presStyleLbl="b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8FE2AF-2B88-EE48-9BF8-BC398AB85C2B}" type="pres">
      <dgm:prSet presAssocID="{BE9A52C9-2D7E-6042-8D46-E3D4796338F8}" presName="spacing" presStyleCnt="0"/>
      <dgm:spPr/>
    </dgm:pt>
    <dgm:pt modelId="{40209312-8F24-DF4C-A05B-AC51A2EA31F6}" type="pres">
      <dgm:prSet presAssocID="{B1799219-BBC7-1E45-9626-7D8387A67126}" presName="linNode" presStyleCnt="0"/>
      <dgm:spPr/>
    </dgm:pt>
    <dgm:pt modelId="{77FBFEFF-FD75-D647-9E1C-3D0E4DD5C263}" type="pres">
      <dgm:prSet presAssocID="{B1799219-BBC7-1E45-9626-7D8387A67126}" presName="parentShp" presStyleLbl="node1" presStyleIdx="2" presStyleCnt="3" custScaleX="7588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842ABDA-D047-5D41-BB29-CAD0C7BE708B}" type="pres">
      <dgm:prSet presAssocID="{B1799219-BBC7-1E45-9626-7D8387A67126}" presName="childShp" presStyleLbl="b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2070A2F-EF0A-0B44-B85E-B25E240877A3}" srcId="{B1799219-BBC7-1E45-9626-7D8387A67126}" destId="{A12DA061-1A54-C343-8D55-3C2D71F12AE3}" srcOrd="0" destOrd="0" parTransId="{E63D6167-7AE2-A64E-9CAB-B4BCA80FA0B2}" sibTransId="{703A48E1-CA96-1D4B-B113-12DDF81534C0}"/>
    <dgm:cxn modelId="{7D16596C-DB84-4C6D-9211-BB7568C7D19C}" type="presOf" srcId="{4799DAAB-B1A1-CC4C-82E4-60F291F28313}" destId="{63C99153-E32F-0141-9790-7DAFBBF28D1D}" srcOrd="0" destOrd="0" presId="urn:microsoft.com/office/officeart/2005/8/layout/vList6"/>
    <dgm:cxn modelId="{AF44115F-1801-6646-8246-06017C773CB5}" srcId="{B1799219-BBC7-1E45-9626-7D8387A67126}" destId="{FC73CBFF-4166-FB46-91E9-72261F30B23B}" srcOrd="1" destOrd="0" parTransId="{902F1048-30E8-0243-9300-033E3FC615D6}" sibTransId="{264DA4EE-7D6D-5B43-801E-660A21ACD2DB}"/>
    <dgm:cxn modelId="{31DB5222-4BCE-4A67-B698-DC85F1DF6BE8}" type="presOf" srcId="{B1799219-BBC7-1E45-9626-7D8387A67126}" destId="{77FBFEFF-FD75-D647-9E1C-3D0E4DD5C263}" srcOrd="0" destOrd="0" presId="urn:microsoft.com/office/officeart/2005/8/layout/vList6"/>
    <dgm:cxn modelId="{46C9559F-0AAF-4081-8C6F-752F279CD71E}" type="presOf" srcId="{A12DA061-1A54-C343-8D55-3C2D71F12AE3}" destId="{6842ABDA-D047-5D41-BB29-CAD0C7BE708B}" srcOrd="0" destOrd="0" presId="urn:microsoft.com/office/officeart/2005/8/layout/vList6"/>
    <dgm:cxn modelId="{5A13CF30-456C-0F42-BCD2-483633748AA0}" srcId="{26A6A95F-EC16-6747-A0F7-3FF8904679F0}" destId="{84B5D480-17DD-AC40-8A75-1B2C9364B159}" srcOrd="0" destOrd="0" parTransId="{70DEA463-CF92-D345-A458-C1CDF4739DBB}" sibTransId="{02F8F113-9413-E949-BD25-8EF15DEAAFE8}"/>
    <dgm:cxn modelId="{B31F3592-FE9A-4F99-8596-75B54C7CB8C0}" type="presOf" srcId="{26A6A95F-EC16-6747-A0F7-3FF8904679F0}" destId="{87940271-5C54-B447-9B57-FF73C0F06F09}" srcOrd="0" destOrd="0" presId="urn:microsoft.com/office/officeart/2005/8/layout/vList6"/>
    <dgm:cxn modelId="{0FAF402C-F8EF-8243-911E-575609DBF93B}" srcId="{26A6A95F-EC16-6747-A0F7-3FF8904679F0}" destId="{9DB50C89-3F9B-1245-8DBA-341966963F15}" srcOrd="1" destOrd="0" parTransId="{2AC40342-6090-DA44-AC14-3D4B548DBF46}" sibTransId="{0F125C77-CE8E-0B48-A1EC-58FC7DEECBBA}"/>
    <dgm:cxn modelId="{4B9FF1A8-0B7F-4813-B951-DDDF32B64127}" type="presOf" srcId="{B211AA74-82B4-D445-AEF7-14FDC7DAF2AF}" destId="{E6D2B939-082E-5549-93FD-F7B26A916233}" srcOrd="0" destOrd="0" presId="urn:microsoft.com/office/officeart/2005/8/layout/vList6"/>
    <dgm:cxn modelId="{D82F49CF-291F-43FD-98E4-276E220A091D}" type="presOf" srcId="{24162CF1-B36D-EC45-9E47-8EF8A46A3194}" destId="{873D942A-DCEE-DA49-A276-DD368AC45642}" srcOrd="0" destOrd="0" presId="urn:microsoft.com/office/officeart/2005/8/layout/vList6"/>
    <dgm:cxn modelId="{720327E6-275C-4889-9AED-DBDC669D61F2}" type="presOf" srcId="{FC73CBFF-4166-FB46-91E9-72261F30B23B}" destId="{6842ABDA-D047-5D41-BB29-CAD0C7BE708B}" srcOrd="0" destOrd="1" presId="urn:microsoft.com/office/officeart/2005/8/layout/vList6"/>
    <dgm:cxn modelId="{3818BE73-9607-964D-B96E-E2AA7C20C7F9}" srcId="{4799DAAB-B1A1-CC4C-82E4-60F291F28313}" destId="{24162CF1-B36D-EC45-9E47-8EF8A46A3194}" srcOrd="0" destOrd="0" parTransId="{87C99EB7-6F70-1A41-A099-DA68C65BEE83}" sibTransId="{EE116330-88D6-2A4F-845E-0850A0735E3A}"/>
    <dgm:cxn modelId="{DCF824DF-06F7-2348-94AE-B088EAB79EF8}" srcId="{26A6A95F-EC16-6747-A0F7-3FF8904679F0}" destId="{EE7821FF-09D6-6343-8775-4A23C22C2B21}" srcOrd="2" destOrd="0" parTransId="{E530F738-6A6E-B74B-851F-88AE979C75AC}" sibTransId="{337355C0-6858-FF4B-BC97-D573934A5322}"/>
    <dgm:cxn modelId="{6190B9D4-BA29-4375-B78E-D5EBC9A6927C}" type="presOf" srcId="{EE7821FF-09D6-6343-8775-4A23C22C2B21}" destId="{BDDBCC88-F131-FA46-8963-3AD65A26C5B8}" srcOrd="0" destOrd="2" presId="urn:microsoft.com/office/officeart/2005/8/layout/vList6"/>
    <dgm:cxn modelId="{1791C8CE-E55D-41CE-9221-BF22FBFDD67A}" type="presOf" srcId="{0740C364-BC97-A74E-954C-1F2DD8BCC436}" destId="{873D942A-DCEE-DA49-A276-DD368AC45642}" srcOrd="0" destOrd="1" presId="urn:microsoft.com/office/officeart/2005/8/layout/vList6"/>
    <dgm:cxn modelId="{1DF94C6B-1977-5245-964F-D7D441688FCF}" srcId="{B211AA74-82B4-D445-AEF7-14FDC7DAF2AF}" destId="{4799DAAB-B1A1-CC4C-82E4-60F291F28313}" srcOrd="0" destOrd="0" parTransId="{D8213BCE-EDDD-904A-919F-9292E0A82155}" sibTransId="{0D23FF18-B338-BE42-A0AB-7E472C96FCF2}"/>
    <dgm:cxn modelId="{F2DFFFD3-C63A-481C-8D5E-6E419C404F90}" type="presOf" srcId="{9DB50C89-3F9B-1245-8DBA-341966963F15}" destId="{BDDBCC88-F131-FA46-8963-3AD65A26C5B8}" srcOrd="0" destOrd="1" presId="urn:microsoft.com/office/officeart/2005/8/layout/vList6"/>
    <dgm:cxn modelId="{5910F1AE-4CFA-40B5-8D23-DCE11B840589}" type="presOf" srcId="{84B5D480-17DD-AC40-8A75-1B2C9364B159}" destId="{BDDBCC88-F131-FA46-8963-3AD65A26C5B8}" srcOrd="0" destOrd="0" presId="urn:microsoft.com/office/officeart/2005/8/layout/vList6"/>
    <dgm:cxn modelId="{A1FD840F-8063-444C-9D2D-F10FDD0CC564}" srcId="{4799DAAB-B1A1-CC4C-82E4-60F291F28313}" destId="{0740C364-BC97-A74E-954C-1F2DD8BCC436}" srcOrd="1" destOrd="0" parTransId="{EEC734E0-635B-D24D-876E-CE40E0AC1014}" sibTransId="{2D5ABBAA-8B10-8C48-85BA-091686EFF2A6}"/>
    <dgm:cxn modelId="{F988FAE1-6151-6F4E-8E4C-395E21367342}" srcId="{B211AA74-82B4-D445-AEF7-14FDC7DAF2AF}" destId="{B1799219-BBC7-1E45-9626-7D8387A67126}" srcOrd="2" destOrd="0" parTransId="{9F478688-3D5B-D54D-B2BE-E196925DC12C}" sibTransId="{20C1E598-E3EB-BC4B-B01C-5FEFCD7B45F0}"/>
    <dgm:cxn modelId="{D1D6E090-0445-E54C-9642-82724ED569DC}" srcId="{B211AA74-82B4-D445-AEF7-14FDC7DAF2AF}" destId="{26A6A95F-EC16-6747-A0F7-3FF8904679F0}" srcOrd="1" destOrd="0" parTransId="{1A04B025-C683-9B4D-9894-175CCB0E2C6B}" sibTransId="{BE9A52C9-2D7E-6042-8D46-E3D4796338F8}"/>
    <dgm:cxn modelId="{B9811976-DA65-43C3-B2FD-1B20243103D0}" type="presParOf" srcId="{E6D2B939-082E-5549-93FD-F7B26A916233}" destId="{C8D1DD5B-D6C5-3C42-9C52-315FFCBEDCFB}" srcOrd="0" destOrd="0" presId="urn:microsoft.com/office/officeart/2005/8/layout/vList6"/>
    <dgm:cxn modelId="{0BC3FC7D-566B-40B9-80E6-CA4E05715988}" type="presParOf" srcId="{C8D1DD5B-D6C5-3C42-9C52-315FFCBEDCFB}" destId="{63C99153-E32F-0141-9790-7DAFBBF28D1D}" srcOrd="0" destOrd="0" presId="urn:microsoft.com/office/officeart/2005/8/layout/vList6"/>
    <dgm:cxn modelId="{A8A1B66E-649D-4ECF-AE4A-497245BA30E9}" type="presParOf" srcId="{C8D1DD5B-D6C5-3C42-9C52-315FFCBEDCFB}" destId="{873D942A-DCEE-DA49-A276-DD368AC45642}" srcOrd="1" destOrd="0" presId="urn:microsoft.com/office/officeart/2005/8/layout/vList6"/>
    <dgm:cxn modelId="{1CAE8D04-4E6F-4321-A79D-C8AF324F7652}" type="presParOf" srcId="{E6D2B939-082E-5549-93FD-F7B26A916233}" destId="{4FE92932-4A9F-3E42-91C6-B5E21D9D59C0}" srcOrd="1" destOrd="0" presId="urn:microsoft.com/office/officeart/2005/8/layout/vList6"/>
    <dgm:cxn modelId="{E95D0839-0C74-4F90-B385-72429D2AB839}" type="presParOf" srcId="{E6D2B939-082E-5549-93FD-F7B26A916233}" destId="{A6D17931-A462-CC42-B077-87D737C7C020}" srcOrd="2" destOrd="0" presId="urn:microsoft.com/office/officeart/2005/8/layout/vList6"/>
    <dgm:cxn modelId="{D2BF5283-61C7-4E8F-8D1D-A116A1F2B557}" type="presParOf" srcId="{A6D17931-A462-CC42-B077-87D737C7C020}" destId="{87940271-5C54-B447-9B57-FF73C0F06F09}" srcOrd="0" destOrd="0" presId="urn:microsoft.com/office/officeart/2005/8/layout/vList6"/>
    <dgm:cxn modelId="{ED2EFA66-C73C-44E9-AC0E-6E4EAE96F571}" type="presParOf" srcId="{A6D17931-A462-CC42-B077-87D737C7C020}" destId="{BDDBCC88-F131-FA46-8963-3AD65A26C5B8}" srcOrd="1" destOrd="0" presId="urn:microsoft.com/office/officeart/2005/8/layout/vList6"/>
    <dgm:cxn modelId="{14B360BE-AE0E-45C1-8A14-3607A86B238D}" type="presParOf" srcId="{E6D2B939-082E-5549-93FD-F7B26A916233}" destId="{088FE2AF-2B88-EE48-9BF8-BC398AB85C2B}" srcOrd="3" destOrd="0" presId="urn:microsoft.com/office/officeart/2005/8/layout/vList6"/>
    <dgm:cxn modelId="{08908445-12A2-46E3-A334-1DE1FF5A6F8B}" type="presParOf" srcId="{E6D2B939-082E-5549-93FD-F7B26A916233}" destId="{40209312-8F24-DF4C-A05B-AC51A2EA31F6}" srcOrd="4" destOrd="0" presId="urn:microsoft.com/office/officeart/2005/8/layout/vList6"/>
    <dgm:cxn modelId="{34E981CA-EC58-4FE5-BFE6-07AC322A53AB}" type="presParOf" srcId="{40209312-8F24-DF4C-A05B-AC51A2EA31F6}" destId="{77FBFEFF-FD75-D647-9E1C-3D0E4DD5C263}" srcOrd="0" destOrd="0" presId="urn:microsoft.com/office/officeart/2005/8/layout/vList6"/>
    <dgm:cxn modelId="{417844B4-8B9D-4DA6-95A4-0AF63D433051}" type="presParOf" srcId="{40209312-8F24-DF4C-A05B-AC51A2EA31F6}" destId="{6842ABDA-D047-5D41-BB29-CAD0C7BE708B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21FB6A-5F9A-7549-887F-37BF4FFB7349}">
      <dsp:nvSpPr>
        <dsp:cNvPr id="0" name=""/>
        <dsp:cNvSpPr/>
      </dsp:nvSpPr>
      <dsp:spPr>
        <a:xfrm>
          <a:off x="173735" y="0"/>
          <a:ext cx="672998" cy="67299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B7137B3-25B9-6546-85C7-7E07C0ECBC10}">
      <dsp:nvSpPr>
        <dsp:cNvPr id="0" name=""/>
        <dsp:cNvSpPr/>
      </dsp:nvSpPr>
      <dsp:spPr>
        <a:xfrm>
          <a:off x="241035" y="67299"/>
          <a:ext cx="538398" cy="538398"/>
        </a:xfrm>
        <a:prstGeom prst="chord">
          <a:avLst>
            <a:gd name="adj1" fmla="val 0"/>
            <a:gd name="adj2" fmla="val 108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2E80E9C5-718E-B143-9A1A-A77228C6D478}">
      <dsp:nvSpPr>
        <dsp:cNvPr id="0" name=""/>
        <dsp:cNvSpPr/>
      </dsp:nvSpPr>
      <dsp:spPr>
        <a:xfrm>
          <a:off x="0" y="672998"/>
          <a:ext cx="1990953" cy="28322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August 2013</a:t>
          </a:r>
          <a:endParaRPr lang="en-US" sz="2400" kern="1200" dirty="0"/>
        </a:p>
      </dsp:txBody>
      <dsp:txXfrm>
        <a:off x="0" y="672998"/>
        <a:ext cx="1990953" cy="2832201"/>
      </dsp:txXfrm>
    </dsp:sp>
    <dsp:sp modelId="{03422C25-396C-1844-88B4-ED7B6642C42B}">
      <dsp:nvSpPr>
        <dsp:cNvPr id="0" name=""/>
        <dsp:cNvSpPr/>
      </dsp:nvSpPr>
      <dsp:spPr>
        <a:xfrm>
          <a:off x="986942" y="0"/>
          <a:ext cx="1990953" cy="6729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0" tIns="88900" rIns="88900" bIns="88900" numCol="1" spcCol="1270" anchor="b" anchorCtr="0">
          <a:noAutofit/>
        </a:bodyPr>
        <a:lstStyle/>
        <a:p>
          <a:pPr lvl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 dirty="0" smtClean="0"/>
            <a:t>$2.3 </a:t>
          </a:r>
          <a:r>
            <a:rPr lang="en-US" sz="3500" kern="1200" dirty="0" err="1" smtClean="0"/>
            <a:t>bn</a:t>
          </a:r>
          <a:endParaRPr lang="en-US" sz="3500" kern="1200" dirty="0"/>
        </a:p>
      </dsp:txBody>
      <dsp:txXfrm>
        <a:off x="986942" y="0"/>
        <a:ext cx="1990953" cy="672998"/>
      </dsp:txXfrm>
    </dsp:sp>
    <dsp:sp modelId="{CFC7E6B4-A108-D24C-96FE-F3D9416A3855}">
      <dsp:nvSpPr>
        <dsp:cNvPr id="0" name=""/>
        <dsp:cNvSpPr/>
      </dsp:nvSpPr>
      <dsp:spPr>
        <a:xfrm>
          <a:off x="3118104" y="0"/>
          <a:ext cx="672998" cy="67299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D4E70210-D257-E641-8BBD-7ADA54653138}">
      <dsp:nvSpPr>
        <dsp:cNvPr id="0" name=""/>
        <dsp:cNvSpPr/>
      </dsp:nvSpPr>
      <dsp:spPr>
        <a:xfrm>
          <a:off x="3185403" y="67299"/>
          <a:ext cx="538398" cy="538398"/>
        </a:xfrm>
        <a:prstGeom prst="chord">
          <a:avLst>
            <a:gd name="adj1" fmla="val 16200000"/>
            <a:gd name="adj2" fmla="val 162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B082ECC6-040D-8D4D-9EBE-FB6EAD1455F9}">
      <dsp:nvSpPr>
        <dsp:cNvPr id="0" name=""/>
        <dsp:cNvSpPr/>
      </dsp:nvSpPr>
      <dsp:spPr>
        <a:xfrm>
          <a:off x="3119897" y="672998"/>
          <a:ext cx="1990953" cy="28322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March 2013</a:t>
          </a:r>
          <a:endParaRPr lang="en-US" sz="2400" kern="1200" dirty="0"/>
        </a:p>
      </dsp:txBody>
      <dsp:txXfrm>
        <a:off x="3119897" y="672998"/>
        <a:ext cx="1990953" cy="2832201"/>
      </dsp:txXfrm>
    </dsp:sp>
    <dsp:sp modelId="{7B2ED6A3-7303-6E4A-A3B7-76689D90A55D}">
      <dsp:nvSpPr>
        <dsp:cNvPr id="0" name=""/>
        <dsp:cNvSpPr/>
      </dsp:nvSpPr>
      <dsp:spPr>
        <a:xfrm>
          <a:off x="3931310" y="0"/>
          <a:ext cx="1990953" cy="6729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0" tIns="88900" rIns="88900" bIns="88900" numCol="1" spcCol="1270" anchor="b" anchorCtr="0">
          <a:noAutofit/>
        </a:bodyPr>
        <a:lstStyle/>
        <a:p>
          <a:pPr lvl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 dirty="0" smtClean="0"/>
            <a:t>$2.6 </a:t>
          </a:r>
          <a:r>
            <a:rPr lang="en-US" sz="3500" kern="1200" dirty="0" err="1" smtClean="0"/>
            <a:t>bn</a:t>
          </a:r>
          <a:endParaRPr lang="en-US" sz="3500" kern="1200" dirty="0"/>
        </a:p>
      </dsp:txBody>
      <dsp:txXfrm>
        <a:off x="3931310" y="0"/>
        <a:ext cx="1990953" cy="67299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166A62-DA18-8C4D-A9AC-7465DABD34B0}">
      <dsp:nvSpPr>
        <dsp:cNvPr id="0" name=""/>
        <dsp:cNvSpPr/>
      </dsp:nvSpPr>
      <dsp:spPr>
        <a:xfrm>
          <a:off x="-5944979" y="-909741"/>
          <a:ext cx="7077283" cy="7077283"/>
        </a:xfrm>
        <a:prstGeom prst="blockArc">
          <a:avLst>
            <a:gd name="adj1" fmla="val 18900000"/>
            <a:gd name="adj2" fmla="val 2700000"/>
            <a:gd name="adj3" fmla="val 305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9B7553-7B00-284E-8059-DF99B3DD0B15}">
      <dsp:nvSpPr>
        <dsp:cNvPr id="0" name=""/>
        <dsp:cNvSpPr/>
      </dsp:nvSpPr>
      <dsp:spPr>
        <a:xfrm>
          <a:off x="592647" y="404219"/>
          <a:ext cx="6800910" cy="80885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2033" tIns="81280" rIns="81280" bIns="81280" numCol="1" spcCol="1270" anchor="ctr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smtClean="0"/>
            <a:t>Liquidation</a:t>
          </a:r>
          <a:endParaRPr lang="en-US" sz="3200" kern="1200" dirty="0"/>
        </a:p>
      </dsp:txBody>
      <dsp:txXfrm>
        <a:off x="592647" y="404219"/>
        <a:ext cx="6800910" cy="808859"/>
      </dsp:txXfrm>
    </dsp:sp>
    <dsp:sp modelId="{0E623E51-905B-9F4D-A5CB-9A420B1FE3C1}">
      <dsp:nvSpPr>
        <dsp:cNvPr id="0" name=""/>
        <dsp:cNvSpPr/>
      </dsp:nvSpPr>
      <dsp:spPr>
        <a:xfrm>
          <a:off x="87110" y="303112"/>
          <a:ext cx="1011074" cy="1011074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5F774FEE-48BF-E749-8FFB-0EC0432C57F4}">
      <dsp:nvSpPr>
        <dsp:cNvPr id="0" name=""/>
        <dsp:cNvSpPr/>
      </dsp:nvSpPr>
      <dsp:spPr>
        <a:xfrm>
          <a:off x="1056385" y="1617719"/>
          <a:ext cx="6337172" cy="80885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2033" tIns="81280" rIns="81280" bIns="81280" numCol="1" spcCol="1270" anchor="ctr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smtClean="0"/>
            <a:t>Cost Cutting</a:t>
          </a:r>
          <a:endParaRPr lang="en-US" sz="3200" kern="1200" dirty="0"/>
        </a:p>
      </dsp:txBody>
      <dsp:txXfrm>
        <a:off x="1056385" y="1617719"/>
        <a:ext cx="6337172" cy="808859"/>
      </dsp:txXfrm>
    </dsp:sp>
    <dsp:sp modelId="{27179C7F-BED7-1D4C-8F22-9C94BBDDC633}">
      <dsp:nvSpPr>
        <dsp:cNvPr id="0" name=""/>
        <dsp:cNvSpPr/>
      </dsp:nvSpPr>
      <dsp:spPr>
        <a:xfrm>
          <a:off x="550848" y="1516612"/>
          <a:ext cx="1011074" cy="1011074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901F60D1-F705-534D-A400-E5A2D7985977}">
      <dsp:nvSpPr>
        <dsp:cNvPr id="0" name=""/>
        <dsp:cNvSpPr/>
      </dsp:nvSpPr>
      <dsp:spPr>
        <a:xfrm>
          <a:off x="1056385" y="2831220"/>
          <a:ext cx="6337172" cy="80885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2033" tIns="81280" rIns="81280" bIns="81280" numCol="1" spcCol="1270" anchor="ctr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smtClean="0"/>
            <a:t>Acquisitions / Partnerships</a:t>
          </a:r>
          <a:endParaRPr lang="en-US" sz="3200" kern="1200" dirty="0"/>
        </a:p>
      </dsp:txBody>
      <dsp:txXfrm>
        <a:off x="1056385" y="2831220"/>
        <a:ext cx="6337172" cy="808859"/>
      </dsp:txXfrm>
    </dsp:sp>
    <dsp:sp modelId="{77F04E94-DB5E-7342-B764-1D525BF4CA41}">
      <dsp:nvSpPr>
        <dsp:cNvPr id="0" name=""/>
        <dsp:cNvSpPr/>
      </dsp:nvSpPr>
      <dsp:spPr>
        <a:xfrm>
          <a:off x="550848" y="2730112"/>
          <a:ext cx="1011074" cy="1011074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11CBBF4B-62D5-C14F-A6BC-11EE681C03D0}">
      <dsp:nvSpPr>
        <dsp:cNvPr id="0" name=""/>
        <dsp:cNvSpPr/>
      </dsp:nvSpPr>
      <dsp:spPr>
        <a:xfrm>
          <a:off x="592647" y="4044720"/>
          <a:ext cx="6800910" cy="80885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2033" tIns="81280" rIns="81280" bIns="81280" numCol="1" spcCol="1270" anchor="ctr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smtClean="0"/>
            <a:t>Platform and Technology Innovation </a:t>
          </a:r>
          <a:endParaRPr lang="en-US" sz="3200" kern="1200" dirty="0"/>
        </a:p>
      </dsp:txBody>
      <dsp:txXfrm>
        <a:off x="592647" y="4044720"/>
        <a:ext cx="6800910" cy="808859"/>
      </dsp:txXfrm>
    </dsp:sp>
    <dsp:sp modelId="{C0B0367D-5544-A14C-A2B8-2420EB463CF3}">
      <dsp:nvSpPr>
        <dsp:cNvPr id="0" name=""/>
        <dsp:cNvSpPr/>
      </dsp:nvSpPr>
      <dsp:spPr>
        <a:xfrm>
          <a:off x="87110" y="3943612"/>
          <a:ext cx="1011074" cy="1011074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02530FC-C83A-DF40-ABA2-8AE2DEA126DF}">
      <dsp:nvSpPr>
        <dsp:cNvPr id="0" name=""/>
        <dsp:cNvSpPr/>
      </dsp:nvSpPr>
      <dsp:spPr>
        <a:xfrm>
          <a:off x="533399" y="74"/>
          <a:ext cx="2743200" cy="60945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Acquire</a:t>
          </a:r>
          <a:endParaRPr lang="en-US" sz="2800" kern="1200" dirty="0"/>
        </a:p>
      </dsp:txBody>
      <dsp:txXfrm>
        <a:off x="533399" y="74"/>
        <a:ext cx="2743200" cy="60945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02530FC-C83A-DF40-ABA2-8AE2DEA126DF}">
      <dsp:nvSpPr>
        <dsp:cNvPr id="0" name=""/>
        <dsp:cNvSpPr/>
      </dsp:nvSpPr>
      <dsp:spPr>
        <a:xfrm>
          <a:off x="457203" y="74"/>
          <a:ext cx="2895593" cy="60945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Strategic Alliance</a:t>
          </a:r>
          <a:endParaRPr lang="en-US" sz="2800" kern="1200" dirty="0"/>
        </a:p>
      </dsp:txBody>
      <dsp:txXfrm>
        <a:off x="457203" y="74"/>
        <a:ext cx="2895593" cy="60945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3D942A-DCEE-DA49-A276-DD368AC45642}">
      <dsp:nvSpPr>
        <dsp:cNvPr id="0" name=""/>
        <dsp:cNvSpPr/>
      </dsp:nvSpPr>
      <dsp:spPr>
        <a:xfrm>
          <a:off x="2894975" y="0"/>
          <a:ext cx="4937760" cy="1666874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5" tIns="10795" rIns="10795" bIns="10795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Go private</a:t>
          </a: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Cost Cutting</a:t>
          </a: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Develop IOS / Android solutions</a:t>
          </a: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Liquidate unwanted Assets and Patents</a:t>
          </a:r>
          <a:endParaRPr lang="en-US" sz="17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600" kern="1200" dirty="0"/>
        </a:p>
      </dsp:txBody>
      <dsp:txXfrm>
        <a:off x="2894975" y="208359"/>
        <a:ext cx="4312682" cy="1250156"/>
      </dsp:txXfrm>
    </dsp:sp>
    <dsp:sp modelId="{63C99153-E32F-0141-9790-7DAFBBF28D1D}">
      <dsp:nvSpPr>
        <dsp:cNvPr id="0" name=""/>
        <dsp:cNvSpPr/>
      </dsp:nvSpPr>
      <dsp:spPr>
        <a:xfrm>
          <a:off x="396864" y="0"/>
          <a:ext cx="2498111" cy="1666874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6210" tIns="78105" rIns="156210" bIns="78105" numCol="1" spcCol="1270" anchor="ctr" anchorCtr="0">
          <a:noAutofit/>
        </a:bodyPr>
        <a:lstStyle/>
        <a:p>
          <a:pPr lvl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100" kern="1200" dirty="0" smtClean="0"/>
            <a:t>Fix</a:t>
          </a:r>
          <a:endParaRPr lang="en-US" sz="4100" kern="1200" dirty="0"/>
        </a:p>
      </dsp:txBody>
      <dsp:txXfrm>
        <a:off x="478234" y="81370"/>
        <a:ext cx="2335371" cy="1504134"/>
      </dsp:txXfrm>
    </dsp:sp>
    <dsp:sp modelId="{BDDBCC88-F131-FA46-8963-3AD65A26C5B8}">
      <dsp:nvSpPr>
        <dsp:cNvPr id="0" name=""/>
        <dsp:cNvSpPr/>
      </dsp:nvSpPr>
      <dsp:spPr>
        <a:xfrm>
          <a:off x="2897543" y="1833562"/>
          <a:ext cx="4937760" cy="1666874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5" tIns="10795" rIns="10795" bIns="10795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Focus on Enterprise customers</a:t>
          </a: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Invest in New Device integration with Android</a:t>
          </a: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Increase Marketing</a:t>
          </a:r>
          <a:endParaRPr lang="en-US" sz="1700" kern="1200" dirty="0"/>
        </a:p>
      </dsp:txBody>
      <dsp:txXfrm>
        <a:off x="2897543" y="2041921"/>
        <a:ext cx="4312682" cy="1250156"/>
      </dsp:txXfrm>
    </dsp:sp>
    <dsp:sp modelId="{87940271-5C54-B447-9B57-FF73C0F06F09}">
      <dsp:nvSpPr>
        <dsp:cNvPr id="0" name=""/>
        <dsp:cNvSpPr/>
      </dsp:nvSpPr>
      <dsp:spPr>
        <a:xfrm>
          <a:off x="394296" y="1833562"/>
          <a:ext cx="2503246" cy="1666874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153123"/>
                <a:satOff val="-2196"/>
                <a:lumOff val="12807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153123"/>
                <a:satOff val="-2196"/>
                <a:lumOff val="12807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153123"/>
                <a:satOff val="-2196"/>
                <a:lumOff val="1280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6210" tIns="78105" rIns="156210" bIns="78105" numCol="1" spcCol="1270" anchor="ctr" anchorCtr="0">
          <a:noAutofit/>
        </a:bodyPr>
        <a:lstStyle/>
        <a:p>
          <a:pPr lvl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100" kern="1200" dirty="0" smtClean="0"/>
            <a:t>Build and Invest</a:t>
          </a:r>
          <a:endParaRPr lang="en-US" sz="4100" kern="1200" dirty="0"/>
        </a:p>
      </dsp:txBody>
      <dsp:txXfrm>
        <a:off x="475666" y="1914932"/>
        <a:ext cx="2340506" cy="1504134"/>
      </dsp:txXfrm>
    </dsp:sp>
    <dsp:sp modelId="{6842ABDA-D047-5D41-BB29-CAD0C7BE708B}">
      <dsp:nvSpPr>
        <dsp:cNvPr id="0" name=""/>
        <dsp:cNvSpPr/>
      </dsp:nvSpPr>
      <dsp:spPr>
        <a:xfrm>
          <a:off x="2894975" y="3667125"/>
          <a:ext cx="4937760" cy="1666874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5" tIns="10795" rIns="10795" bIns="10795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Increased Revenues from New Devices</a:t>
          </a: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Synergies in Services Revenues from Devices</a:t>
          </a: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Better brand perception</a:t>
          </a: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Niche player with Net Profits</a:t>
          </a:r>
          <a:endParaRPr lang="en-US" sz="17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100" kern="1200" dirty="0"/>
        </a:p>
      </dsp:txBody>
      <dsp:txXfrm>
        <a:off x="2894975" y="3875484"/>
        <a:ext cx="4312682" cy="1250156"/>
      </dsp:txXfrm>
    </dsp:sp>
    <dsp:sp modelId="{77FBFEFF-FD75-D647-9E1C-3D0E4DD5C263}">
      <dsp:nvSpPr>
        <dsp:cNvPr id="0" name=""/>
        <dsp:cNvSpPr/>
      </dsp:nvSpPr>
      <dsp:spPr>
        <a:xfrm>
          <a:off x="396864" y="3667125"/>
          <a:ext cx="2498111" cy="1666874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306247"/>
                <a:satOff val="-4392"/>
                <a:lumOff val="25615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306247"/>
                <a:satOff val="-4392"/>
                <a:lumOff val="25615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306247"/>
                <a:satOff val="-4392"/>
                <a:lumOff val="2561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6210" tIns="78105" rIns="156210" bIns="78105" numCol="1" spcCol="1270" anchor="ctr" anchorCtr="0">
          <a:noAutofit/>
        </a:bodyPr>
        <a:lstStyle/>
        <a:p>
          <a:pPr lvl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100" kern="1200" dirty="0" smtClean="0"/>
            <a:t>Benefits</a:t>
          </a:r>
          <a:endParaRPr lang="en-US" sz="4100" kern="1200" dirty="0"/>
        </a:p>
      </dsp:txBody>
      <dsp:txXfrm>
        <a:off x="478234" y="3748495"/>
        <a:ext cx="2335371" cy="150413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3D942A-DCEE-DA49-A276-DD368AC45642}">
      <dsp:nvSpPr>
        <dsp:cNvPr id="0" name=""/>
        <dsp:cNvSpPr/>
      </dsp:nvSpPr>
      <dsp:spPr>
        <a:xfrm>
          <a:off x="1688735" y="0"/>
          <a:ext cx="2880360" cy="1690687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Go private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Continue Cost cutting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Continue CORE Program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Arrest Software declines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IOS/Android Platform</a:t>
          </a:r>
          <a:endParaRPr lang="en-US" sz="1600" kern="1200" dirty="0"/>
        </a:p>
      </dsp:txBody>
      <dsp:txXfrm>
        <a:off x="1688735" y="211336"/>
        <a:ext cx="2246352" cy="1268015"/>
      </dsp:txXfrm>
    </dsp:sp>
    <dsp:sp modelId="{63C99153-E32F-0141-9790-7DAFBBF28D1D}">
      <dsp:nvSpPr>
        <dsp:cNvPr id="0" name=""/>
        <dsp:cNvSpPr/>
      </dsp:nvSpPr>
      <dsp:spPr>
        <a:xfrm>
          <a:off x="231504" y="0"/>
          <a:ext cx="1457231" cy="1690687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1</a:t>
          </a:r>
          <a:r>
            <a:rPr lang="en-US" sz="2700" kern="1200" baseline="30000" dirty="0" smtClean="0"/>
            <a:t>st</a:t>
          </a:r>
          <a:r>
            <a:rPr lang="en-US" sz="2700" kern="1200" dirty="0" smtClean="0"/>
            <a:t> Quarter</a:t>
          </a:r>
          <a:endParaRPr lang="en-US" sz="2700" kern="1200" dirty="0"/>
        </a:p>
      </dsp:txBody>
      <dsp:txXfrm>
        <a:off x="302640" y="71136"/>
        <a:ext cx="1314959" cy="1548415"/>
      </dsp:txXfrm>
    </dsp:sp>
    <dsp:sp modelId="{BDDBCC88-F131-FA46-8963-3AD65A26C5B8}">
      <dsp:nvSpPr>
        <dsp:cNvPr id="0" name=""/>
        <dsp:cNvSpPr/>
      </dsp:nvSpPr>
      <dsp:spPr>
        <a:xfrm>
          <a:off x="1690233" y="1859756"/>
          <a:ext cx="2880360" cy="1690687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Liquidate Assets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Robust Organizational Communication System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Reduce Product Mix</a:t>
          </a:r>
          <a:endParaRPr lang="en-US" sz="1600" kern="1200" dirty="0"/>
        </a:p>
      </dsp:txBody>
      <dsp:txXfrm>
        <a:off x="1690233" y="2071092"/>
        <a:ext cx="2246352" cy="1268015"/>
      </dsp:txXfrm>
    </dsp:sp>
    <dsp:sp modelId="{87940271-5C54-B447-9B57-FF73C0F06F09}">
      <dsp:nvSpPr>
        <dsp:cNvPr id="0" name=""/>
        <dsp:cNvSpPr/>
      </dsp:nvSpPr>
      <dsp:spPr>
        <a:xfrm>
          <a:off x="230006" y="1859756"/>
          <a:ext cx="1460227" cy="1690687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153123"/>
                <a:satOff val="-2196"/>
                <a:lumOff val="12807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153123"/>
                <a:satOff val="-2196"/>
                <a:lumOff val="12807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153123"/>
                <a:satOff val="-2196"/>
                <a:lumOff val="1280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2</a:t>
          </a:r>
          <a:r>
            <a:rPr lang="en-US" sz="2700" kern="1200" baseline="30000" dirty="0" smtClean="0"/>
            <a:t>nd</a:t>
          </a:r>
          <a:r>
            <a:rPr lang="en-US" sz="2700" kern="1200" dirty="0" smtClean="0"/>
            <a:t> Quarter</a:t>
          </a:r>
          <a:endParaRPr lang="en-US" sz="2700" kern="1200" dirty="0"/>
        </a:p>
      </dsp:txBody>
      <dsp:txXfrm>
        <a:off x="301288" y="1931038"/>
        <a:ext cx="1317663" cy="1548123"/>
      </dsp:txXfrm>
    </dsp:sp>
    <dsp:sp modelId="{6842ABDA-D047-5D41-BB29-CAD0C7BE708B}">
      <dsp:nvSpPr>
        <dsp:cNvPr id="0" name=""/>
        <dsp:cNvSpPr/>
      </dsp:nvSpPr>
      <dsp:spPr>
        <a:xfrm>
          <a:off x="1688735" y="3719512"/>
          <a:ext cx="2880360" cy="1690687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Go Big with “Security = Blackberry” into IOS/Android</a:t>
          </a:r>
          <a:endParaRPr lang="en-US" sz="1600" kern="1200" dirty="0"/>
        </a:p>
      </dsp:txBody>
      <dsp:txXfrm>
        <a:off x="1688735" y="3930848"/>
        <a:ext cx="2246352" cy="1268015"/>
      </dsp:txXfrm>
    </dsp:sp>
    <dsp:sp modelId="{77FBFEFF-FD75-D647-9E1C-3D0E4DD5C263}">
      <dsp:nvSpPr>
        <dsp:cNvPr id="0" name=""/>
        <dsp:cNvSpPr/>
      </dsp:nvSpPr>
      <dsp:spPr>
        <a:xfrm>
          <a:off x="231504" y="3719512"/>
          <a:ext cx="1457231" cy="1690687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306247"/>
                <a:satOff val="-4392"/>
                <a:lumOff val="25615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306247"/>
                <a:satOff val="-4392"/>
                <a:lumOff val="25615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306247"/>
                <a:satOff val="-4392"/>
                <a:lumOff val="2561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3</a:t>
          </a:r>
          <a:r>
            <a:rPr lang="en-US" sz="2700" kern="1200" baseline="30000" dirty="0" smtClean="0"/>
            <a:t>rd</a:t>
          </a:r>
          <a:r>
            <a:rPr lang="en-US" sz="2700" kern="1200" dirty="0" smtClean="0"/>
            <a:t> Quarter</a:t>
          </a:r>
          <a:endParaRPr lang="en-US" sz="2700" kern="1200" dirty="0"/>
        </a:p>
      </dsp:txBody>
      <dsp:txXfrm>
        <a:off x="302640" y="3790648"/>
        <a:ext cx="1314959" cy="154841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AC789D-EEC6-3F48-9351-0CE791653F12}">
      <dsp:nvSpPr>
        <dsp:cNvPr id="0" name=""/>
        <dsp:cNvSpPr/>
      </dsp:nvSpPr>
      <dsp:spPr>
        <a:xfrm>
          <a:off x="773302" y="2857500"/>
          <a:ext cx="505717" cy="14454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52858" y="0"/>
              </a:lnTo>
              <a:lnTo>
                <a:pt x="252858" y="1445458"/>
              </a:lnTo>
              <a:lnTo>
                <a:pt x="505717" y="1445458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987877" y="3541944"/>
        <a:ext cx="76568" cy="76568"/>
      </dsp:txXfrm>
    </dsp:sp>
    <dsp:sp modelId="{417CB798-920C-E94E-B1E5-9F4FBBE93246}">
      <dsp:nvSpPr>
        <dsp:cNvPr id="0" name=""/>
        <dsp:cNvSpPr/>
      </dsp:nvSpPr>
      <dsp:spPr>
        <a:xfrm>
          <a:off x="773302" y="2857500"/>
          <a:ext cx="505717" cy="48181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52858" y="0"/>
              </a:lnTo>
              <a:lnTo>
                <a:pt x="252858" y="481819"/>
              </a:lnTo>
              <a:lnTo>
                <a:pt x="505717" y="481819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1008698" y="3080947"/>
        <a:ext cx="34924" cy="34924"/>
      </dsp:txXfrm>
    </dsp:sp>
    <dsp:sp modelId="{D74B3F62-33AA-FA4C-B121-869B371A636E}">
      <dsp:nvSpPr>
        <dsp:cNvPr id="0" name=""/>
        <dsp:cNvSpPr/>
      </dsp:nvSpPr>
      <dsp:spPr>
        <a:xfrm>
          <a:off x="773302" y="2375680"/>
          <a:ext cx="505717" cy="481819"/>
        </a:xfrm>
        <a:custGeom>
          <a:avLst/>
          <a:gdLst/>
          <a:ahLst/>
          <a:cxnLst/>
          <a:rect l="0" t="0" r="0" b="0"/>
          <a:pathLst>
            <a:path>
              <a:moveTo>
                <a:pt x="0" y="481819"/>
              </a:moveTo>
              <a:lnTo>
                <a:pt x="252858" y="481819"/>
              </a:lnTo>
              <a:lnTo>
                <a:pt x="252858" y="0"/>
              </a:lnTo>
              <a:lnTo>
                <a:pt x="505717" y="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1008698" y="2599127"/>
        <a:ext cx="34924" cy="34924"/>
      </dsp:txXfrm>
    </dsp:sp>
    <dsp:sp modelId="{6BF5A597-FFF0-2141-A357-76706534BA8D}">
      <dsp:nvSpPr>
        <dsp:cNvPr id="0" name=""/>
        <dsp:cNvSpPr/>
      </dsp:nvSpPr>
      <dsp:spPr>
        <a:xfrm>
          <a:off x="773302" y="1412041"/>
          <a:ext cx="505717" cy="1445458"/>
        </a:xfrm>
        <a:custGeom>
          <a:avLst/>
          <a:gdLst/>
          <a:ahLst/>
          <a:cxnLst/>
          <a:rect l="0" t="0" r="0" b="0"/>
          <a:pathLst>
            <a:path>
              <a:moveTo>
                <a:pt x="0" y="1445458"/>
              </a:moveTo>
              <a:lnTo>
                <a:pt x="252858" y="1445458"/>
              </a:lnTo>
              <a:lnTo>
                <a:pt x="252858" y="0"/>
              </a:lnTo>
              <a:lnTo>
                <a:pt x="505717" y="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987877" y="2096486"/>
        <a:ext cx="76568" cy="76568"/>
      </dsp:txXfrm>
    </dsp:sp>
    <dsp:sp modelId="{3FB1469F-8AEB-9542-B801-F6FAB1A7F24F}">
      <dsp:nvSpPr>
        <dsp:cNvPr id="0" name=""/>
        <dsp:cNvSpPr/>
      </dsp:nvSpPr>
      <dsp:spPr>
        <a:xfrm rot="16200000">
          <a:off x="-1640866" y="2472044"/>
          <a:ext cx="4057426" cy="77091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2222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0" kern="1200" dirty="0" smtClean="0"/>
            <a:t>Possible Issues</a:t>
          </a:r>
          <a:endParaRPr lang="en-US" sz="5000" kern="1200" dirty="0"/>
        </a:p>
      </dsp:txBody>
      <dsp:txXfrm>
        <a:off x="-1640866" y="2472044"/>
        <a:ext cx="4057426" cy="770911"/>
      </dsp:txXfrm>
    </dsp:sp>
    <dsp:sp modelId="{A29427A7-5005-114D-BDBB-4AEAE398B994}">
      <dsp:nvSpPr>
        <dsp:cNvPr id="0" name=""/>
        <dsp:cNvSpPr/>
      </dsp:nvSpPr>
      <dsp:spPr>
        <a:xfrm>
          <a:off x="1279020" y="1026586"/>
          <a:ext cx="2528588" cy="77091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Competition</a:t>
          </a:r>
          <a:endParaRPr lang="en-US" sz="2600" kern="1200" dirty="0"/>
        </a:p>
      </dsp:txBody>
      <dsp:txXfrm>
        <a:off x="1279020" y="1026586"/>
        <a:ext cx="2528588" cy="770911"/>
      </dsp:txXfrm>
    </dsp:sp>
    <dsp:sp modelId="{C7FD7335-2439-2B4E-A679-E485696DAFE4}">
      <dsp:nvSpPr>
        <dsp:cNvPr id="0" name=""/>
        <dsp:cNvSpPr/>
      </dsp:nvSpPr>
      <dsp:spPr>
        <a:xfrm>
          <a:off x="1279020" y="1990225"/>
          <a:ext cx="2528588" cy="77091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Restructuring Issues</a:t>
          </a:r>
          <a:endParaRPr lang="en-US" sz="2600" kern="1200" dirty="0"/>
        </a:p>
      </dsp:txBody>
      <dsp:txXfrm>
        <a:off x="1279020" y="1990225"/>
        <a:ext cx="2528588" cy="770911"/>
      </dsp:txXfrm>
    </dsp:sp>
    <dsp:sp modelId="{28F772A1-426C-A949-98DF-E6B3CE6F2CCE}">
      <dsp:nvSpPr>
        <dsp:cNvPr id="0" name=""/>
        <dsp:cNvSpPr/>
      </dsp:nvSpPr>
      <dsp:spPr>
        <a:xfrm>
          <a:off x="1279020" y="2953863"/>
          <a:ext cx="2528588" cy="77091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Employee Insecurity</a:t>
          </a:r>
          <a:endParaRPr lang="en-US" sz="2600" kern="1200" dirty="0"/>
        </a:p>
      </dsp:txBody>
      <dsp:txXfrm>
        <a:off x="1279020" y="2953863"/>
        <a:ext cx="2528588" cy="770911"/>
      </dsp:txXfrm>
    </dsp:sp>
    <dsp:sp modelId="{6175B1BF-D474-E140-AF0A-B0C1A8D59661}">
      <dsp:nvSpPr>
        <dsp:cNvPr id="0" name=""/>
        <dsp:cNvSpPr/>
      </dsp:nvSpPr>
      <dsp:spPr>
        <a:xfrm>
          <a:off x="1279020" y="3917502"/>
          <a:ext cx="2528588" cy="77091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Short turnaround time</a:t>
          </a:r>
          <a:endParaRPr lang="en-US" sz="2600" kern="1200" dirty="0"/>
        </a:p>
      </dsp:txBody>
      <dsp:txXfrm>
        <a:off x="1279020" y="3917502"/>
        <a:ext cx="2528588" cy="770911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3D942A-DCEE-DA49-A276-DD368AC45642}">
      <dsp:nvSpPr>
        <dsp:cNvPr id="0" name=""/>
        <dsp:cNvSpPr/>
      </dsp:nvSpPr>
      <dsp:spPr>
        <a:xfrm>
          <a:off x="2305258" y="0"/>
          <a:ext cx="3931920" cy="1523999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Cut down on unwanted R&amp;D and focus on development on niche Enterprise products</a:t>
          </a:r>
          <a:endParaRPr lang="en-US" sz="1600" kern="1200" dirty="0"/>
        </a:p>
      </dsp:txBody>
      <dsp:txXfrm>
        <a:off x="2305258" y="190500"/>
        <a:ext cx="3360420" cy="1142999"/>
      </dsp:txXfrm>
    </dsp:sp>
    <dsp:sp modelId="{63C99153-E32F-0141-9790-7DAFBBF28D1D}">
      <dsp:nvSpPr>
        <dsp:cNvPr id="0" name=""/>
        <dsp:cNvSpPr/>
      </dsp:nvSpPr>
      <dsp:spPr>
        <a:xfrm>
          <a:off x="316021" y="0"/>
          <a:ext cx="1989236" cy="1523999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0970" tIns="70485" rIns="140970" bIns="70485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700" kern="1200" dirty="0" smtClean="0"/>
            <a:t>4th Quarter</a:t>
          </a:r>
          <a:endParaRPr lang="en-US" sz="3700" kern="1200" dirty="0"/>
        </a:p>
      </dsp:txBody>
      <dsp:txXfrm>
        <a:off x="390416" y="74395"/>
        <a:ext cx="1840446" cy="1375209"/>
      </dsp:txXfrm>
    </dsp:sp>
    <dsp:sp modelId="{BDDBCC88-F131-FA46-8963-3AD65A26C5B8}">
      <dsp:nvSpPr>
        <dsp:cNvPr id="0" name=""/>
        <dsp:cNvSpPr/>
      </dsp:nvSpPr>
      <dsp:spPr>
        <a:xfrm>
          <a:off x="2307303" y="1676400"/>
          <a:ext cx="3931920" cy="1523999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Introduce new Device integrated with Android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Extensive Marketing</a:t>
          </a:r>
          <a:endParaRPr lang="en-US" sz="1800" kern="1200" dirty="0"/>
        </a:p>
      </dsp:txBody>
      <dsp:txXfrm>
        <a:off x="2307303" y="1866900"/>
        <a:ext cx="3360420" cy="1142999"/>
      </dsp:txXfrm>
    </dsp:sp>
    <dsp:sp modelId="{87940271-5C54-B447-9B57-FF73C0F06F09}">
      <dsp:nvSpPr>
        <dsp:cNvPr id="0" name=""/>
        <dsp:cNvSpPr/>
      </dsp:nvSpPr>
      <dsp:spPr>
        <a:xfrm>
          <a:off x="313976" y="1676400"/>
          <a:ext cx="1993326" cy="1523999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153123"/>
                <a:satOff val="-2196"/>
                <a:lumOff val="12807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153123"/>
                <a:satOff val="-2196"/>
                <a:lumOff val="12807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153123"/>
                <a:satOff val="-2196"/>
                <a:lumOff val="1280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0970" tIns="70485" rIns="140970" bIns="70485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700" kern="1200" dirty="0" smtClean="0"/>
            <a:t>2</a:t>
          </a:r>
          <a:r>
            <a:rPr lang="en-US" sz="3700" kern="1200" baseline="30000" dirty="0" smtClean="0"/>
            <a:t>nd</a:t>
          </a:r>
          <a:r>
            <a:rPr lang="en-US" sz="3700" kern="1200" dirty="0" smtClean="0"/>
            <a:t> Year</a:t>
          </a:r>
          <a:endParaRPr lang="en-US" sz="3700" kern="1200" dirty="0"/>
        </a:p>
      </dsp:txBody>
      <dsp:txXfrm>
        <a:off x="388371" y="1750795"/>
        <a:ext cx="1844536" cy="1375209"/>
      </dsp:txXfrm>
    </dsp:sp>
    <dsp:sp modelId="{6842ABDA-D047-5D41-BB29-CAD0C7BE708B}">
      <dsp:nvSpPr>
        <dsp:cNvPr id="0" name=""/>
        <dsp:cNvSpPr/>
      </dsp:nvSpPr>
      <dsp:spPr>
        <a:xfrm>
          <a:off x="2305258" y="3352799"/>
          <a:ext cx="3931920" cy="1523999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Focus on increasing market share and margins</a:t>
          </a:r>
          <a:endParaRPr lang="en-US" sz="1800" kern="1200" dirty="0"/>
        </a:p>
      </dsp:txBody>
      <dsp:txXfrm>
        <a:off x="2305258" y="3543299"/>
        <a:ext cx="3360420" cy="1142999"/>
      </dsp:txXfrm>
    </dsp:sp>
    <dsp:sp modelId="{77FBFEFF-FD75-D647-9E1C-3D0E4DD5C263}">
      <dsp:nvSpPr>
        <dsp:cNvPr id="0" name=""/>
        <dsp:cNvSpPr/>
      </dsp:nvSpPr>
      <dsp:spPr>
        <a:xfrm>
          <a:off x="316021" y="3352799"/>
          <a:ext cx="1989236" cy="1523999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306247"/>
                <a:satOff val="-4392"/>
                <a:lumOff val="25615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306247"/>
                <a:satOff val="-4392"/>
                <a:lumOff val="25615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306247"/>
                <a:satOff val="-4392"/>
                <a:lumOff val="2561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0970" tIns="70485" rIns="140970" bIns="70485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700" kern="1200" dirty="0" smtClean="0"/>
            <a:t>3</a:t>
          </a:r>
          <a:r>
            <a:rPr lang="en-US" sz="3700" kern="1200" baseline="30000" dirty="0" smtClean="0"/>
            <a:t>rd</a:t>
          </a:r>
          <a:r>
            <a:rPr lang="en-US" sz="3700" kern="1200" dirty="0" smtClean="0"/>
            <a:t> Year</a:t>
          </a:r>
          <a:endParaRPr lang="en-US" sz="3700" kern="1200" dirty="0"/>
        </a:p>
      </dsp:txBody>
      <dsp:txXfrm>
        <a:off x="390416" y="3427194"/>
        <a:ext cx="1840446" cy="13752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IncreasingCircleProcess">
  <dgm:title val=""/>
  <dgm:desc val=""/>
  <dgm:catLst>
    <dgm:cat type="list" pri="8300"/>
    <dgm:cat type="process" pri="43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clrData>
  <dgm:layoutNode name="Name0">
    <dgm:varLst>
      <dgm:chMax val="7"/>
      <dgm:chPref val="7"/>
      <dgm:dir/>
      <dgm:animOne val="branch"/>
      <dgm:animLvl val="lvl"/>
    </dgm:varLst>
    <dgm:choose name="Name1">
      <dgm:if name="Name2" func="var" arg="dir" op="equ" val="norm">
        <dgm:alg type="lin">
          <dgm:param type="linDir" val="fromL"/>
          <dgm:param type="horzAlign" val="ctr"/>
          <dgm:param type="vertAlign" val="t"/>
        </dgm:alg>
      </dgm:if>
      <dgm:else name="Name3">
        <dgm:alg type="lin">
          <dgm:param type="linDir" val="fromR"/>
          <dgm:param type="horzAlign" val="ctr"/>
          <dgm:param type="vertAlign" val="t"/>
        </dgm:alg>
      </dgm:else>
    </dgm:choose>
    <dgm:shape xmlns:r="http://schemas.openxmlformats.org/officeDocument/2006/relationships" r:blip="">
      <dgm:adjLst/>
    </dgm:shape>
    <dgm:constrLst>
      <dgm:constr type="primFontSz" for="des" forName="Child" val="65"/>
      <dgm:constr type="primFontSz" for="des" forName="Parent" val="65"/>
      <dgm:constr type="primFontSz" for="des" forName="Child" refType="primFontSz" refFor="des" refForName="Parent" op="lte"/>
      <dgm:constr type="w" for="ch" forName="composite" refType="w"/>
      <dgm:constr type="h" for="ch" forName="composite" refType="h"/>
      <dgm:constr type="sp" refType="w" refFor="ch" refForName="composite" op="equ" fact="0.05"/>
      <dgm:constr type="w" for="ch" forName="sibTrans" refType="h" refFor="ch" refForName="composite" op="equ" fact="0.04"/>
    </dgm:constrLst>
    <dgm:forEach name="nodesForEach" axis="ch" ptType="node" cnt="7">
      <dgm:layoutNode name="composite">
        <dgm:alg type="composite">
          <dgm:param type="ar" val="0.8"/>
        </dgm:alg>
        <dgm:choose name="Name4">
          <dgm:if name="Name5" func="var" arg="dir" op="equ" val="norm">
            <dgm:constrLst>
              <dgm:constr type="l" for="ch" forName="Child" refType="w" fact="0.29"/>
              <dgm:constr type="t" for="ch" forName="Child" refType="h" fact="0.192"/>
              <dgm:constr type="w" for="ch" forName="Child" refType="w" fact="0.71"/>
              <dgm:constr type="h" for="ch" forName="Child" refType="h" fact="0.808"/>
              <dgm:constr type="l" for="ch" forName="Parent" refType="w" fact="0.29"/>
              <dgm:constr type="t" for="ch" forName="Parent" refType="h" fact="0"/>
              <dgm:constr type="w" for="ch" forName="Parent" refType="w" fact="0.71"/>
              <dgm:constr type="h" for="ch" forName="Parent" refType="h" fact="0.192"/>
              <dgm:constr type="l" for="ch" forName="BackAccent" refType="w" fact="0"/>
              <dgm:constr type="t" for="ch" forName="BackAccent" refType="h" fact="0"/>
              <dgm:constr type="w" for="ch" forName="BackAccent" refType="w" fact="0.24"/>
              <dgm:constr type="h" for="ch" forName="BackAccent" refType="h" fact="0.192"/>
              <dgm:constr type="l" for="ch" forName="Accent" refType="w" fact="0.024"/>
              <dgm:constr type="t" for="ch" forName="Accent" refType="h" fact="0.0192"/>
              <dgm:constr type="w" for="ch" forName="Accent" refType="w" fact="0.192"/>
              <dgm:constr type="h" for="ch" forName="Accent" refType="h" fact="0.1536"/>
            </dgm:constrLst>
          </dgm:if>
          <dgm:else name="Name6">
            <dgm:constrLst>
              <dgm:constr type="r" for="ch" forName="Child" refType="w" fact="0.71"/>
              <dgm:constr type="t" for="ch" forName="Child" refType="h" fact="0.192"/>
              <dgm:constr type="w" for="ch" forName="Child" refType="w" fact="0.71"/>
              <dgm:constr type="h" for="ch" forName="Child" refType="h" fact="0.808"/>
              <dgm:constr type="r" for="ch" forName="Parent" refType="w" fact="0.71"/>
              <dgm:constr type="t" for="ch" forName="Parent" refType="h" fact="0"/>
              <dgm:constr type="w" for="ch" forName="Parent" refType="w" fact="0.71"/>
              <dgm:constr type="h" for="ch" forName="Parent" refType="h" fact="0.192"/>
              <dgm:constr type="r" for="ch" forName="BackAccent" refType="w"/>
              <dgm:constr type="t" for="ch" forName="BackAccent" refType="h" fact="0"/>
              <dgm:constr type="w" for="ch" forName="BackAccent" refType="w" fact="0.24"/>
              <dgm:constr type="h" for="ch" forName="BackAccent" refType="h" fact="0.192"/>
              <dgm:constr type="r" for="ch" forName="Accent" refType="w" fact="0.976"/>
              <dgm:constr type="t" for="ch" forName="Accent" refType="h" fact="0.0192"/>
              <dgm:constr type="w" for="ch" forName="Accent" refType="w" fact="0.192"/>
              <dgm:constr type="h" for="ch" forName="Accent" refType="h" fact="0.1536"/>
            </dgm:constrLst>
          </dgm:else>
        </dgm:choose>
        <dgm:layoutNode name="BackAccent" styleLbl="bgShp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Accent" styleLbl="alignNode1">
          <dgm:alg type="sp"/>
          <dgm:choose name="Name7">
            <dgm:if name="Name8" axis="precedSib" ptType="node" func="cnt" op="equ" val="0">
              <dgm:choose name="Name9">
                <dgm:if name="Name10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11" axis="followSib" ptType="node" func="cnt" op="equ" val="1">
                  <dgm:shape xmlns:r="http://schemas.openxmlformats.org/officeDocument/2006/relationships" type="chord" r:blip="">
                    <dgm:adjLst>
                      <dgm:adj idx="1" val="0"/>
                      <dgm:adj idx="2" val="180"/>
                    </dgm:adjLst>
                  </dgm:shape>
                </dgm:if>
                <dgm:if name="Name12" axis="followSib" ptType="node" func="cnt" op="equ" val="2">
                  <dgm:shape xmlns:r="http://schemas.openxmlformats.org/officeDocument/2006/relationships" type="chord" r:blip="">
                    <dgm:adjLst>
                      <dgm:adj idx="1" val="19.4712"/>
                      <dgm:adj idx="2" val="160.5288"/>
                    </dgm:adjLst>
                  </dgm:shape>
                </dgm:if>
                <dgm:if name="Name13" axis="followSib" ptType="node" func="cnt" op="equ" val="3">
                  <dgm:shape xmlns:r="http://schemas.openxmlformats.org/officeDocument/2006/relationships" type="chord" r:blip="">
                    <dgm:adjLst>
                      <dgm:adj idx="1" val="30"/>
                      <dgm:adj idx="2" val="150"/>
                    </dgm:adjLst>
                  </dgm:shape>
                </dgm:if>
                <dgm:if name="Name14" axis="followSib" ptType="node" func="cnt" op="equ" val="4">
                  <dgm:shape xmlns:r="http://schemas.openxmlformats.org/officeDocument/2006/relationships" type="chord" r:blip="">
                    <dgm:adjLst>
                      <dgm:adj idx="1" val="38.8699"/>
                      <dgm:adj idx="2" val="143.1301"/>
                    </dgm:adjLst>
                  </dgm:shape>
                </dgm:if>
                <dgm:if name="Name15" axis="followSib" ptType="node" func="cnt" op="equ" val="5">
                  <dgm:shape xmlns:r="http://schemas.openxmlformats.org/officeDocument/2006/relationships" type="chord" r:blip="">
                    <dgm:adjLst>
                      <dgm:adj idx="1" val="41.8103"/>
                      <dgm:adj idx="2" val="138.1897"/>
                    </dgm:adjLst>
                  </dgm:shape>
                </dgm:if>
                <dgm:else name="Name16">
                  <dgm:shape xmlns:r="http://schemas.openxmlformats.org/officeDocument/2006/relationships" type="chord" r:blip="">
                    <dgm:adjLst>
                      <dgm:adj idx="1" val="45.5847"/>
                      <dgm:adj idx="2" val="134.4153"/>
                    </dgm:adjLst>
                  </dgm:shape>
                </dgm:else>
              </dgm:choose>
            </dgm:if>
            <dgm:if name="Name17" axis="precedSib" ptType="node" func="cnt" op="equ" val="1">
              <dgm:choose name="Name18">
                <dgm:if name="Name19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20" axis="followSib" ptType="node" func="cnt" op="equ" val="1">
                  <dgm:shape xmlns:r="http://schemas.openxmlformats.org/officeDocument/2006/relationships" type="chord" r:blip="">
                    <dgm:adjLst>
                      <dgm:adj idx="1" val="-19.4712"/>
                      <dgm:adj idx="2" val="-160.5288"/>
                    </dgm:adjLst>
                  </dgm:shape>
                </dgm:if>
                <dgm:if name="Name21" axis="followSib" ptType="node" func="cnt" op="equ" val="2">
                  <dgm:shape xmlns:r="http://schemas.openxmlformats.org/officeDocument/2006/relationships" type="chord" r:blip="">
                    <dgm:adjLst>
                      <dgm:adj idx="1" val="0"/>
                      <dgm:adj idx="2" val="180"/>
                    </dgm:adjLst>
                  </dgm:shape>
                </dgm:if>
                <dgm:if name="Name22" axis="followSib" ptType="node" func="cnt" op="equ" val="3">
                  <dgm:shape xmlns:r="http://schemas.openxmlformats.org/officeDocument/2006/relationships" type="chord" r:blip="">
                    <dgm:adjLst>
                      <dgm:adj idx="1" val="11.537"/>
                      <dgm:adj idx="2" val="168.463"/>
                    </dgm:adjLst>
                  </dgm:shape>
                </dgm:if>
                <dgm:if name="Name23" axis="followSib" ptType="node" func="cnt" op="equ" val="4">
                  <dgm:shape xmlns:r="http://schemas.openxmlformats.org/officeDocument/2006/relationships" type="chord" r:blip="">
                    <dgm:adjLst>
                      <dgm:adj idx="1" val="19.4712"/>
                      <dgm:adj idx="2" val="160.5288"/>
                    </dgm:adjLst>
                  </dgm:shape>
                </dgm:if>
                <dgm:else name="Name24">
                  <dgm:shape xmlns:r="http://schemas.openxmlformats.org/officeDocument/2006/relationships" type="chord" r:blip="">
                    <dgm:adjLst>
                      <dgm:adj idx="1" val="25.3769"/>
                      <dgm:adj idx="2" val="154.6231"/>
                    </dgm:adjLst>
                  </dgm:shape>
                </dgm:else>
              </dgm:choose>
            </dgm:if>
            <dgm:if name="Name25" axis="precedSib" ptType="node" func="cnt" op="equ" val="2">
              <dgm:choose name="Name26">
                <dgm:if name="Name27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28" axis="followSib" ptType="node" func="cnt" op="equ" val="1">
                  <dgm:shape xmlns:r="http://schemas.openxmlformats.org/officeDocument/2006/relationships" type="chord" r:blip="">
                    <dgm:adjLst>
                      <dgm:adj idx="1" val="-30"/>
                      <dgm:adj idx="2" val="-150"/>
                    </dgm:adjLst>
                  </dgm:shape>
                </dgm:if>
                <dgm:if name="Name29" axis="followSib" ptType="node" func="cnt" op="equ" val="2">
                  <dgm:shape xmlns:r="http://schemas.openxmlformats.org/officeDocument/2006/relationships" type="chord" r:blip="">
                    <dgm:adjLst>
                      <dgm:adj idx="1" val="-11.537"/>
                      <dgm:adj idx="2" val="-168.463"/>
                    </dgm:adjLst>
                  </dgm:shape>
                </dgm:if>
                <dgm:if name="Name30" axis="followSib" ptType="node" func="cnt" op="equ" val="3">
                  <dgm:shape xmlns:r="http://schemas.openxmlformats.org/officeDocument/2006/relationships" type="chord" r:blip="">
                    <dgm:adjLst>
                      <dgm:adj idx="1" val="0"/>
                      <dgm:adj idx="2" val="180"/>
                    </dgm:adjLst>
                  </dgm:shape>
                </dgm:if>
                <dgm:else name="Name31">
                  <dgm:shape xmlns:r="http://schemas.openxmlformats.org/officeDocument/2006/relationships" type="chord" r:blip="">
                    <dgm:adjLst>
                      <dgm:adj idx="1" val="8.2133"/>
                      <dgm:adj idx="2" val="171.7867"/>
                    </dgm:adjLst>
                  </dgm:shape>
                </dgm:else>
              </dgm:choose>
            </dgm:if>
            <dgm:if name="Name32" axis="precedSib" ptType="node" func="cnt" op="equ" val="3">
              <dgm:choose name="Name33">
                <dgm:if name="Name34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35" axis="followSib" ptType="node" func="cnt" op="equ" val="1">
                  <dgm:shape xmlns:r="http://schemas.openxmlformats.org/officeDocument/2006/relationships" type="chord" r:blip="">
                    <dgm:adjLst>
                      <dgm:adj idx="1" val="-38.8699"/>
                      <dgm:adj idx="2" val="-143.1301"/>
                    </dgm:adjLst>
                  </dgm:shape>
                </dgm:if>
                <dgm:if name="Name36" axis="followSib" ptType="node" func="cnt" op="equ" val="2">
                  <dgm:shape xmlns:r="http://schemas.openxmlformats.org/officeDocument/2006/relationships" type="chord" r:blip="">
                    <dgm:adjLst>
                      <dgm:adj idx="1" val="-19.4712"/>
                      <dgm:adj idx="2" val="-160.5288"/>
                    </dgm:adjLst>
                  </dgm:shape>
                </dgm:if>
                <dgm:else name="Name37">
                  <dgm:shape xmlns:r="http://schemas.openxmlformats.org/officeDocument/2006/relationships" type="chord" r:blip="">
                    <dgm:adjLst>
                      <dgm:adj idx="1" val="-8.2133"/>
                      <dgm:adj idx="2" val="-171.7867"/>
                    </dgm:adjLst>
                  </dgm:shape>
                </dgm:else>
              </dgm:choose>
            </dgm:if>
            <dgm:if name="Name38" axis="precedSib" ptType="node" func="cnt" op="equ" val="4">
              <dgm:choose name="Name39">
                <dgm:if name="Name40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41" axis="followSib" ptType="node" func="cnt" op="equ" val="1">
                  <dgm:shape xmlns:r="http://schemas.openxmlformats.org/officeDocument/2006/relationships" type="chord" r:blip="">
                    <dgm:adjLst>
                      <dgm:adj idx="1" val="-41.8103"/>
                      <dgm:adj idx="2" val="-138.1897"/>
                    </dgm:adjLst>
                  </dgm:shape>
                </dgm:if>
                <dgm:else name="Name42">
                  <dgm:shape xmlns:r="http://schemas.openxmlformats.org/officeDocument/2006/relationships" type="chord" r:blip="">
                    <dgm:adjLst>
                      <dgm:adj idx="1" val="-25.3769"/>
                      <dgm:adj idx="2" val="-154.6231"/>
                    </dgm:adjLst>
                  </dgm:shape>
                </dgm:else>
              </dgm:choose>
            </dgm:if>
            <dgm:if name="Name43" axis="precedSib" ptType="node" func="cnt" op="equ" val="5">
              <dgm:choose name="Name44">
                <dgm:if name="Name45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else name="Name46">
                  <dgm:shape xmlns:r="http://schemas.openxmlformats.org/officeDocument/2006/relationships" type="chord" r:blip="">
                    <dgm:adjLst>
                      <dgm:adj idx="1" val="-45.5847"/>
                      <dgm:adj idx="2" val="-134.4153"/>
                    </dgm:adjLst>
                  </dgm:shape>
                </dgm:else>
              </dgm:choose>
            </dgm:if>
            <dgm:else name="Name47">
              <dgm:shape xmlns:r="http://schemas.openxmlformats.org/officeDocument/2006/relationships" type="chord" r:blip="">
                <dgm:adjLst>
                  <dgm:adj idx="1" val="-90"/>
                  <dgm:adj idx="2" val="-90"/>
                </dgm:adjLst>
              </dgm:shape>
            </dgm:else>
          </dgm:choose>
          <dgm:presOf/>
        </dgm:layoutNode>
        <dgm:layoutNode name="Child" styleLbl="revTx">
          <dgm:varLst>
            <dgm:chMax val="0"/>
            <dgm:chPref val="0"/>
            <dgm:bulletEnabled val="1"/>
          </dgm:varLst>
          <dgm:choose name="Name48">
            <dgm:if name="Name49" func="var" arg="dir" op="equ" val="norm">
              <dgm:alg type="tx">
                <dgm:param type="parTxLTRAlign" val="l"/>
                <dgm:param type="parTxRTLAlign" val="l"/>
                <dgm:param type="txAnchorVert" val="t"/>
              </dgm:alg>
            </dgm:if>
            <dgm:else name="Name50">
              <dgm:alg type="tx">
                <dgm:param type="parTxLTRAlign" val="r"/>
                <dgm:param type="parTxRTLAlign" val="r"/>
                <dgm:param type="txAnchorVert" val="t"/>
              </dgm:alg>
            </dgm:else>
          </dgm:choose>
          <dgm:choose name="Name51">
            <dgm:if name="Name52" axis="ch" ptType="node" func="cnt" op="gte" val="1">
              <dgm:shape xmlns:r="http://schemas.openxmlformats.org/officeDocument/2006/relationships" type="rect" r:blip="">
                <dgm:adjLst/>
              </dgm:shape>
            </dgm:if>
            <dgm:else name="Name53">
              <dgm:shape xmlns:r="http://schemas.openxmlformats.org/officeDocument/2006/relationships" type="rect" r:blip="" hideGeom="1">
                <dgm:adjLst/>
              </dgm:shape>
            </dgm:else>
          </dgm:choose>
          <dgm:choose name="Name54">
            <dgm:if name="Name55" axis="ch" ptType="node" func="cnt" op="gte" val="1">
              <dgm:presOf axis="des" ptType="node"/>
            </dgm:if>
            <dgm:else name="Name56">
              <dgm:presOf/>
            </dgm:else>
          </dgm:choose>
          <dgm:constrLst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Parent" styleLbl="revTx">
          <dgm:varLst>
            <dgm:chMax val="1"/>
            <dgm:chPref val="1"/>
            <dgm:bulletEnabled val="1"/>
          </dgm:varLst>
          <dgm:choose name="Name57">
            <dgm:if name="Name58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  <dgm:param type="txAnchorVert" val="b"/>
                <dgm:param type="txAnchorVertCh" val="b"/>
              </dgm:alg>
            </dgm:if>
            <dgm:else name="Name59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  <dgm:param type="txAnchorVert" val="b"/>
                <dgm:param type="txAnchorVertCh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#5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#6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PictureAccentList">
  <dgm:title val=""/>
  <dgm:desc val=""/>
  <dgm:catLst>
    <dgm:cat type="picture" pri="14000"/>
    <dgm:cat type="list" pri="14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clrData>
  <dgm:layoutNode name="layout">
    <dgm:varLst>
      <dgm:chMax/>
      <dgm:chPref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L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primFontSz" for="des" forName="childText" refType="primFontSz" refFor="des" refForName="rootText" op="lte"/>
      <dgm:constr type="w" for="des" forName="rootComposite" refType="w" fact="4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/>
      <dgm:constr type="sibSp" refType="w" refFor="des" refForName="rootComposite" fact="0.1"/>
      <dgm:constr type="sibSp" for="des" forName="childShape" refType="h" refFor="des" refForName="rootComposite" fact="0.12"/>
      <dgm:constr type="sp" for="des" forName="root" refType="h" refFor="des" refForName="rootComposite" fact="0.18"/>
    </dgm:constrLst>
    <dgm:ruleLst/>
    <dgm:forEach name="Name3" axis="ch">
      <dgm:forEach name="Name4" axis="self" ptType="node" cnt="1">
        <dgm:layoutNode name="root">
          <dgm:varLst>
            <dgm:chMax/>
            <dgm:chPref val="4"/>
          </dgm:varLst>
          <dgm:alg type="hierRoot"/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onstrLst>
              <dgm:constr type="l" for="ch" forName="rootText"/>
              <dgm:constr type="t" for="ch" forName="rootText"/>
              <dgm:constr type="w" for="ch" forName="rootText" refType="w"/>
              <dgm:constr type="h" for="ch" forName="rootText" refType="h"/>
            </dgm:constrLst>
            <dgm:ruleLst/>
            <dgm:layoutNode name="rootText" styleLbl="node0">
              <dgm:varLst>
                <dgm:chMax/>
                <dgm:chPref val="4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5" axis="ch">
              <dgm:forEach name="Name6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7">
                    <dgm:if name="Name8" func="var" arg="dir" op="equ" val="norm">
                      <dgm:constrLst>
                        <dgm:constr type="w" for="ch" forName="Image" refType="h"/>
                        <dgm:constr type="h" for="ch" forName="Image" refType="h"/>
                        <dgm:constr type="l" for="ch" forName="Image"/>
                        <dgm:constr type="t" for="ch" forName="Image"/>
                        <dgm:constr type="h" for="ch" forName="childText" refType="h"/>
                        <dgm:constr type="l" for="ch" forName="childText" refType="w" refFor="ch" refForName="Image" fact="1.06"/>
                        <dgm:constr type="t" for="ch" forName="childText"/>
                      </dgm:constrLst>
                    </dgm:if>
                    <dgm:else name="Name9">
                      <dgm:constrLst>
                        <dgm:constr type="w" for="ch" forName="Image" refType="h"/>
                        <dgm:constr type="h" for="ch" forName="Image" refType="h"/>
                        <dgm:constr type="r" for="ch" forName="Image" refType="w"/>
                        <dgm:constr type="t" for="ch" forName="Image"/>
                        <dgm:constr type="h" for="ch" forName="childText" refType="h"/>
                        <dgm:constr type="t" for="ch" forName="childText"/>
                        <dgm:constr type="wOff" for="ch" forName="childText" refType="w" refFor="ch" refForName="Image" fact="-1.06"/>
                      </dgm:constrLst>
                    </dgm:else>
                  </dgm:choose>
                  <dgm:ruleLst/>
                  <dgm:layoutNode name="Image" styleLbl="node1">
                    <dgm:alg type="sp"/>
                    <dgm:shape xmlns:r="http://schemas.openxmlformats.org/officeDocument/2006/relationships" type="roundRect" r:blip="" blipPhldr="1">
                      <dgm:adjLst>
                        <dgm:adj idx="1" val="0.1667"/>
                      </dgm:adjLst>
                    </dgm:shape>
                    <dgm:presOf/>
                  </dgm:layoutNode>
                  <dgm:layoutNode name="childText" styleLbl="lnNode1">
                    <dgm:varLst>
                      <dgm:chMax val="0"/>
                      <dgm:chPref val="0"/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667"/>
                      </dgm:adjLst>
                    </dgm:shape>
                    <dgm:presOf axis="self desOrSelf" ptType="node node" st="1 1" cnt="1 0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8AF431-FE14-4228-86AA-9DDEF4BB6C15}" type="datetimeFigureOut">
              <a:rPr lang="en-US" smtClean="0"/>
              <a:pPr/>
              <a:t>23/10/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1A09FA-716F-47DC-83EE-2714D812151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25963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6AD8C23-8DE5-4D93-B381-CCC645FF3BE6}" type="slidenum">
              <a:rPr lang="en-GB"/>
              <a:pPr/>
              <a:t>2</a:t>
            </a:fld>
            <a:endParaRPr lang="en-GB" dirty="0"/>
          </a:p>
        </p:txBody>
      </p:sp>
      <p:sp>
        <p:nvSpPr>
          <p:cNvPr id="2308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52475" y="573088"/>
            <a:ext cx="5360988" cy="4022725"/>
          </a:xfrm>
          <a:ln/>
        </p:spPr>
      </p:sp>
      <p:sp>
        <p:nvSpPr>
          <p:cNvPr id="23080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5972" y="4913965"/>
            <a:ext cx="5842345" cy="227975"/>
          </a:xfrm>
        </p:spPr>
        <p:txBody>
          <a:bodyPr/>
          <a:lstStyle/>
          <a:p>
            <a:endParaRPr lang="cs-CZ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GB"/>
              <a:t>MEO-ZWJ723-20090209-ARRKP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ED34E15-4418-4EC9-A812-2AA652F5BDE5}" type="slidenum">
              <a:rPr lang="en-GB"/>
              <a:pPr/>
              <a:t>12</a:t>
            </a:fld>
            <a:endParaRPr lang="en-GB"/>
          </a:p>
        </p:txBody>
      </p:sp>
      <p:sp>
        <p:nvSpPr>
          <p:cNvPr id="2918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00225" y="1176338"/>
            <a:ext cx="10417175" cy="7812087"/>
          </a:xfrm>
        </p:spPr>
      </p:sp>
      <p:sp>
        <p:nvSpPr>
          <p:cNvPr id="29184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9883" y="559751"/>
            <a:ext cx="5247909" cy="296967"/>
          </a:xfrm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GB"/>
              <a:t>MEO-ZWJ723-20090209-ARRKP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ED34E15-4418-4EC9-A812-2AA652F5BDE5}" type="slidenum">
              <a:rPr lang="en-GB"/>
              <a:pPr/>
              <a:t>13</a:t>
            </a:fld>
            <a:endParaRPr lang="en-GB"/>
          </a:p>
        </p:txBody>
      </p:sp>
      <p:sp>
        <p:nvSpPr>
          <p:cNvPr id="2918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00225" y="1176338"/>
            <a:ext cx="10417175" cy="7812087"/>
          </a:xfrm>
        </p:spPr>
      </p:sp>
      <p:sp>
        <p:nvSpPr>
          <p:cNvPr id="29184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9883" y="559751"/>
            <a:ext cx="5247909" cy="296967"/>
          </a:xfrm>
        </p:spPr>
        <p:txBody>
          <a:bodyPr/>
          <a:lstStyle/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1200" dirty="0" smtClean="0"/>
              <a:t>Preventing sensitive information from market.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1200" dirty="0" smtClean="0"/>
              <a:t>Allows to buy more time to fix issues.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1200" dirty="0" smtClean="0"/>
              <a:t>Arresting negative sentiments in market.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1200" dirty="0" smtClean="0"/>
              <a:t>Reduce performance pressure on management and employees.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1200" dirty="0" smtClean="0"/>
              <a:t>Reduction in costs due to being private.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endParaRPr lang="en-US" sz="1200" dirty="0" smtClean="0"/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1200" dirty="0" smtClean="0"/>
              <a:t>Downside: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1200" dirty="0" smtClean="0"/>
              <a:t>Limited access to raising capital in future.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1200" dirty="0" smtClean="0"/>
              <a:t>Mammoth investor losses : around $80 billion in share value destruction.</a:t>
            </a:r>
          </a:p>
          <a:p>
            <a:pPr>
              <a:lnSpc>
                <a:spcPct val="120000"/>
              </a:lnSpc>
            </a:pPr>
            <a:endParaRPr lang="en-US" sz="1200" dirty="0" smtClean="0"/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endParaRPr lang="en-US" sz="1200" dirty="0" smtClean="0"/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perating as a non-SEC reporting company will reduce the burden on</a:t>
            </a: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nagement and employees that arises from SEC reporting requirements, thus allowing</a:t>
            </a: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nagement and employees to focus more of their attention on the company’s core</a:t>
            </a: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siness</a:t>
            </a: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perating a non-SEC reporting company may eliminate the pressure and</a:t>
            </a: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pectation to produce short-term per share earnings and may increase management’s</a:t>
            </a: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exibility to consider and initiate actions that may produce long-term benefits and</a:t>
            </a: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wth.</a:t>
            </a:r>
            <a:endParaRPr lang="en-GB" dirty="0" smtClean="0"/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endParaRPr lang="en-US" sz="1200" dirty="0" smtClean="0"/>
          </a:p>
          <a:p>
            <a:pPr marL="285750" indent="-285750">
              <a:buFont typeface="Arial"/>
              <a:buChar char="•"/>
            </a:pPr>
            <a:endParaRPr lang="en-US" sz="1200" dirty="0" smtClean="0"/>
          </a:p>
          <a:p>
            <a:endParaRPr lang="en-GB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GB"/>
              <a:t>MEO-ZWJ723-20090209-ARRKP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ED34E15-4418-4EC9-A812-2AA652F5BDE5}" type="slidenum">
              <a:rPr lang="en-GB"/>
              <a:pPr/>
              <a:t>14</a:t>
            </a:fld>
            <a:endParaRPr lang="en-GB"/>
          </a:p>
        </p:txBody>
      </p:sp>
      <p:sp>
        <p:nvSpPr>
          <p:cNvPr id="2918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00225" y="1176338"/>
            <a:ext cx="10417175" cy="7812087"/>
          </a:xfrm>
        </p:spPr>
      </p:sp>
      <p:sp>
        <p:nvSpPr>
          <p:cNvPr id="29184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9883" y="559751"/>
            <a:ext cx="5247909" cy="296967"/>
          </a:xfrm>
        </p:spPr>
        <p:txBody>
          <a:bodyPr/>
          <a:lstStyle/>
          <a:p>
            <a:r>
              <a:rPr lang="en-GB" dirty="0" smtClean="0"/>
              <a:t>Nortel </a:t>
            </a:r>
            <a:r>
              <a:rPr lang="en-US" dirty="0" smtClean="0"/>
              <a:t>–</a:t>
            </a:r>
            <a:r>
              <a:rPr lang="en-GB" dirty="0" smtClean="0"/>
              <a:t> </a:t>
            </a:r>
            <a:r>
              <a:rPr lang="en-GB" dirty="0" err="1" smtClean="0"/>
              <a:t>Anothe</a:t>
            </a:r>
            <a:r>
              <a:rPr lang="en-US" dirty="0" smtClean="0"/>
              <a:t>r</a:t>
            </a:r>
            <a:r>
              <a:rPr lang="en-GB" dirty="0" smtClean="0"/>
              <a:t> Canadian company</a:t>
            </a:r>
          </a:p>
          <a:p>
            <a:r>
              <a:rPr lang="en-GB" dirty="0" smtClean="0"/>
              <a:t>Amazon</a:t>
            </a:r>
          </a:p>
          <a:p>
            <a:r>
              <a:rPr lang="en-GB" dirty="0" err="1" smtClean="0"/>
              <a:t>Lenov</a:t>
            </a:r>
            <a:r>
              <a:rPr lang="en-GB" dirty="0" smtClean="0"/>
              <a:t>-</a:t>
            </a:r>
            <a:r>
              <a:rPr lang="en-GB" baseline="0" dirty="0" smtClean="0"/>
              <a:t> again </a:t>
            </a:r>
            <a:r>
              <a:rPr lang="en-GB" baseline="0" dirty="0" err="1" smtClean="0"/>
              <a:t>expressesed</a:t>
            </a:r>
            <a:r>
              <a:rPr lang="en-GB" baseline="0" dirty="0" smtClean="0"/>
              <a:t> interest</a:t>
            </a:r>
          </a:p>
          <a:p>
            <a:r>
              <a:rPr lang="en-GB" baseline="0" dirty="0" smtClean="0"/>
              <a:t>Samsung- </a:t>
            </a:r>
            <a:r>
              <a:rPr lang="en-GB" baseline="0" dirty="0" err="1" smtClean="0"/>
              <a:t>InAfrica</a:t>
            </a:r>
            <a:r>
              <a:rPr lang="en-GB" baseline="0" dirty="0" smtClean="0"/>
              <a:t>, blackberry is working with Samsung to promote BBM </a:t>
            </a:r>
          </a:p>
          <a:p>
            <a:endParaRPr lang="en-GB" baseline="0" dirty="0" smtClean="0"/>
          </a:p>
          <a:p>
            <a:r>
              <a:rPr lang="en-GB" baseline="0" dirty="0" smtClean="0"/>
              <a:t>Microsoft </a:t>
            </a:r>
            <a:r>
              <a:rPr lang="en-US" baseline="0" dirty="0" smtClean="0"/>
              <a:t>–</a:t>
            </a:r>
            <a:r>
              <a:rPr lang="en-GB" baseline="0" dirty="0" smtClean="0"/>
              <a:t> LG : Feb 2009, LG came up with windows phone.</a:t>
            </a:r>
          </a:p>
          <a:p>
            <a:endParaRPr lang="en-GB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GB"/>
              <a:t>MEO-ZWJ723-20090209-ARRKP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ED34E15-4418-4EC9-A812-2AA652F5BDE5}" type="slidenum">
              <a:rPr lang="en-GB"/>
              <a:pPr/>
              <a:t>15</a:t>
            </a:fld>
            <a:endParaRPr lang="en-GB"/>
          </a:p>
        </p:txBody>
      </p:sp>
      <p:sp>
        <p:nvSpPr>
          <p:cNvPr id="2918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00225" y="1176338"/>
            <a:ext cx="10417175" cy="7812087"/>
          </a:xfrm>
        </p:spPr>
      </p:sp>
      <p:sp>
        <p:nvSpPr>
          <p:cNvPr id="29184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9883" y="559751"/>
            <a:ext cx="5247909" cy="296967"/>
          </a:xfrm>
        </p:spPr>
        <p:txBody>
          <a:bodyPr/>
          <a:lstStyle/>
          <a:p>
            <a:pPr lvl="0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 software apps to support customers in IOS and Android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s it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fficult to build app ecosystem</a:t>
            </a:r>
          </a:p>
          <a:p>
            <a:endParaRPr lang="en-GB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GB"/>
              <a:t>MEO-ZWJ723-20090209-ARRKP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ED34E15-4418-4EC9-A812-2AA652F5BDE5}" type="slidenum">
              <a:rPr lang="en-GB"/>
              <a:pPr/>
              <a:t>16</a:t>
            </a:fld>
            <a:endParaRPr lang="en-GB"/>
          </a:p>
        </p:txBody>
      </p:sp>
      <p:sp>
        <p:nvSpPr>
          <p:cNvPr id="2918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00225" y="1176338"/>
            <a:ext cx="10417175" cy="7812087"/>
          </a:xfrm>
        </p:spPr>
      </p:sp>
      <p:sp>
        <p:nvSpPr>
          <p:cNvPr id="29184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9883" y="559751"/>
            <a:ext cx="5247909" cy="296967"/>
          </a:xfrm>
        </p:spPr>
        <p:txBody>
          <a:bodyPr/>
          <a:lstStyle/>
          <a:p>
            <a:pPr lvl="0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 software apps to support customers in IOS and Android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s it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fficult to build app ecosystem</a:t>
            </a:r>
          </a:p>
          <a:p>
            <a:endParaRPr lang="en-GB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GB"/>
              <a:t>MEO-ZWJ723-20090209-ARRKP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ED34E15-4418-4EC9-A812-2AA652F5BDE5}" type="slidenum">
              <a:rPr lang="en-GB"/>
              <a:pPr/>
              <a:t>17</a:t>
            </a:fld>
            <a:endParaRPr lang="en-GB"/>
          </a:p>
        </p:txBody>
      </p:sp>
      <p:sp>
        <p:nvSpPr>
          <p:cNvPr id="2918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00225" y="1176338"/>
            <a:ext cx="10417175" cy="7812087"/>
          </a:xfrm>
        </p:spPr>
      </p:sp>
      <p:sp>
        <p:nvSpPr>
          <p:cNvPr id="29184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9883" y="559751"/>
            <a:ext cx="5247909" cy="296967"/>
          </a:xfrm>
        </p:spPr>
        <p:txBody>
          <a:bodyPr/>
          <a:lstStyle/>
          <a:p>
            <a:pPr lvl="0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 software apps to support customers in IOS and Android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s it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fficult to build app ecosystem</a:t>
            </a:r>
          </a:p>
          <a:p>
            <a:endParaRPr lang="en-GB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6AD8C23-8DE5-4D93-B381-CCC645FF3BE6}" type="slidenum">
              <a:rPr lang="en-GB"/>
              <a:pPr/>
              <a:t>18</a:t>
            </a:fld>
            <a:endParaRPr lang="en-GB" dirty="0"/>
          </a:p>
        </p:txBody>
      </p:sp>
      <p:sp>
        <p:nvSpPr>
          <p:cNvPr id="2308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52475" y="573088"/>
            <a:ext cx="5360988" cy="4022725"/>
          </a:xfrm>
          <a:ln/>
        </p:spPr>
      </p:sp>
      <p:sp>
        <p:nvSpPr>
          <p:cNvPr id="23080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5972" y="4913965"/>
            <a:ext cx="5842345" cy="227975"/>
          </a:xfrm>
        </p:spPr>
        <p:txBody>
          <a:bodyPr/>
          <a:lstStyle/>
          <a:p>
            <a:endParaRPr lang="cs-CZ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GB"/>
              <a:t>MEO-ZWJ723-20090209-ARRKP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ED34E15-4418-4EC9-A812-2AA652F5BDE5}" type="slidenum">
              <a:rPr lang="en-GB"/>
              <a:pPr/>
              <a:t>19</a:t>
            </a:fld>
            <a:endParaRPr lang="en-GB"/>
          </a:p>
        </p:txBody>
      </p:sp>
      <p:sp>
        <p:nvSpPr>
          <p:cNvPr id="2918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00225" y="1176338"/>
            <a:ext cx="10417175" cy="7812087"/>
          </a:xfrm>
        </p:spPr>
      </p:sp>
      <p:sp>
        <p:nvSpPr>
          <p:cNvPr id="29184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9883" y="559751"/>
            <a:ext cx="5247909" cy="296967"/>
          </a:xfrm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GB"/>
              <a:t>MEO-ZWJ723-20090209-ARRKP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ED34E15-4418-4EC9-A812-2AA652F5BDE5}" type="slidenum">
              <a:rPr lang="en-GB"/>
              <a:pPr/>
              <a:t>20</a:t>
            </a:fld>
            <a:endParaRPr lang="en-GB"/>
          </a:p>
        </p:txBody>
      </p:sp>
      <p:sp>
        <p:nvSpPr>
          <p:cNvPr id="2918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00225" y="1176338"/>
            <a:ext cx="10417175" cy="7812087"/>
          </a:xfrm>
        </p:spPr>
      </p:sp>
      <p:sp>
        <p:nvSpPr>
          <p:cNvPr id="29184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9883" y="559751"/>
            <a:ext cx="5247909" cy="296967"/>
          </a:xfrm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GB"/>
              <a:t>MEO-ZWJ723-20090209-ARRKP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ED34E15-4418-4EC9-A812-2AA652F5BDE5}" type="slidenum">
              <a:rPr lang="en-GB"/>
              <a:pPr/>
              <a:t>21</a:t>
            </a:fld>
            <a:endParaRPr lang="en-GB"/>
          </a:p>
        </p:txBody>
      </p:sp>
      <p:sp>
        <p:nvSpPr>
          <p:cNvPr id="2918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00225" y="1176338"/>
            <a:ext cx="10417175" cy="7812087"/>
          </a:xfrm>
        </p:spPr>
      </p:sp>
      <p:sp>
        <p:nvSpPr>
          <p:cNvPr id="29184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9883" y="559751"/>
            <a:ext cx="5247909" cy="296967"/>
          </a:xfrm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5378" name="doc id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en-GB"/>
              <a:t>DBI-AAA123-20081011-</a:t>
            </a:r>
          </a:p>
        </p:txBody>
      </p:sp>
      <p:sp>
        <p:nvSpPr>
          <p:cNvPr id="485379" name="pg num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23B32A8-ED67-40A5-A303-7453FA1DECB2}" type="slidenum">
              <a:rPr lang="en-GB"/>
              <a:pPr/>
              <a:t>4</a:t>
            </a:fld>
            <a:endParaRPr lang="en-GB"/>
          </a:p>
        </p:txBody>
      </p:sp>
      <p:sp>
        <p:nvSpPr>
          <p:cNvPr id="48538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06575" y="1173163"/>
            <a:ext cx="10436225" cy="7827962"/>
          </a:xfrm>
        </p:spPr>
      </p:sp>
      <p:sp>
        <p:nvSpPr>
          <p:cNvPr id="48538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20152" y="339424"/>
            <a:ext cx="5843181" cy="288307"/>
          </a:xfrm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6AD8C23-8DE5-4D93-B381-CCC645FF3BE6}" type="slidenum">
              <a:rPr lang="en-GB"/>
              <a:pPr/>
              <a:t>22</a:t>
            </a:fld>
            <a:endParaRPr lang="en-GB" dirty="0"/>
          </a:p>
        </p:txBody>
      </p:sp>
      <p:sp>
        <p:nvSpPr>
          <p:cNvPr id="2308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52475" y="573088"/>
            <a:ext cx="5360988" cy="4022725"/>
          </a:xfrm>
          <a:ln/>
        </p:spPr>
      </p:sp>
      <p:sp>
        <p:nvSpPr>
          <p:cNvPr id="23080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5972" y="4913965"/>
            <a:ext cx="5842345" cy="227975"/>
          </a:xfrm>
        </p:spPr>
        <p:txBody>
          <a:bodyPr/>
          <a:lstStyle/>
          <a:p>
            <a:endParaRPr lang="cs-CZ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GB"/>
              <a:t>MEO-ZWJ723-20090209-ARRKP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ED34E15-4418-4EC9-A812-2AA652F5BDE5}" type="slidenum">
              <a:rPr lang="en-GB"/>
              <a:pPr/>
              <a:t>23</a:t>
            </a:fld>
            <a:endParaRPr lang="en-GB"/>
          </a:p>
        </p:txBody>
      </p:sp>
      <p:sp>
        <p:nvSpPr>
          <p:cNvPr id="2918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00225" y="1176338"/>
            <a:ext cx="10417175" cy="7812087"/>
          </a:xfrm>
        </p:spPr>
      </p:sp>
      <p:sp>
        <p:nvSpPr>
          <p:cNvPr id="29184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9883" y="559751"/>
            <a:ext cx="5247909" cy="296967"/>
          </a:xfrm>
        </p:spPr>
        <p:txBody>
          <a:bodyPr/>
          <a:lstStyle/>
          <a:p>
            <a:pPr lvl="0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 software apps to support customers in IOS and Android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s it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fficult to build app ecosystem</a:t>
            </a:r>
          </a:p>
          <a:p>
            <a:endParaRPr lang="en-GB" dirty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GB"/>
              <a:t>MEO-ZWJ723-20090209-ARRKP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ED34E15-4418-4EC9-A812-2AA652F5BDE5}" type="slidenum">
              <a:rPr lang="en-GB"/>
              <a:pPr/>
              <a:t>26</a:t>
            </a:fld>
            <a:endParaRPr lang="en-GB"/>
          </a:p>
        </p:txBody>
      </p:sp>
      <p:sp>
        <p:nvSpPr>
          <p:cNvPr id="2918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00225" y="1176338"/>
            <a:ext cx="10417175" cy="7812087"/>
          </a:xfrm>
        </p:spPr>
      </p:sp>
      <p:sp>
        <p:nvSpPr>
          <p:cNvPr id="29184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9883" y="559751"/>
            <a:ext cx="5247909" cy="296967"/>
          </a:xfrm>
        </p:spPr>
        <p:txBody>
          <a:bodyPr/>
          <a:lstStyle/>
          <a:p>
            <a:pPr lvl="0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 software apps to support customers in IOS and Android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s it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fficult to build app ecosystem</a:t>
            </a:r>
          </a:p>
          <a:p>
            <a:endParaRPr lang="en-GB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4898" name="doc id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en-GB"/>
              <a:t>DBI-AAA123-20081011-</a:t>
            </a:r>
          </a:p>
        </p:txBody>
      </p:sp>
      <p:sp>
        <p:nvSpPr>
          <p:cNvPr id="464899" name="pg num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F3240AE-4C26-48A2-BC5F-B29766D4BBE2}" type="slidenum">
              <a:rPr lang="en-GB"/>
              <a:pPr/>
              <a:t>5</a:t>
            </a:fld>
            <a:endParaRPr lang="en-GB"/>
          </a:p>
        </p:txBody>
      </p:sp>
      <p:sp>
        <p:nvSpPr>
          <p:cNvPr id="46490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46150" y="747713"/>
            <a:ext cx="4892675" cy="3670300"/>
          </a:xfrm>
          <a:ln>
            <a:solidFill>
              <a:schemeClr val="bg1"/>
            </a:solidFill>
          </a:ln>
        </p:spPr>
      </p:sp>
      <p:sp>
        <p:nvSpPr>
          <p:cNvPr id="46490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826" y="4569957"/>
            <a:ext cx="4956014" cy="296484"/>
          </a:xfrm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  <a:p>
            <a:pPr eaLnBrk="1" hangingPunct="1"/>
            <a:r>
              <a:rPr lang="en-US" dirty="0" smtClean="0"/>
              <a:t>Poor Touch Screen:</a:t>
            </a:r>
          </a:p>
          <a:p>
            <a:pPr eaLnBrk="1" hangingPunct="1"/>
            <a:r>
              <a:rPr lang="en-US" dirty="0" smtClean="0"/>
              <a:t> Key Issues: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Apple introduced the I-Phone in 2007 and the world was never the same for BB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BB didn’t even have competitive products in the drawing board. 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Android emerges to compound misery</a:t>
            </a:r>
          </a:p>
          <a:p>
            <a:pPr eaLnBrk="1" hangingPunct="1"/>
            <a:endParaRPr lang="en-US" dirty="0" smtClean="0"/>
          </a:p>
          <a:p>
            <a:pPr eaLnBrk="1" hangingPunct="1"/>
            <a:r>
              <a:rPr lang="en-US" dirty="0" smtClean="0"/>
              <a:t>Causes: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R&amp;D failure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Management: Management initially down played the impact of touch screen</a:t>
            </a:r>
          </a:p>
          <a:p>
            <a:pPr eaLnBrk="1" hangingPunct="1"/>
            <a:endParaRPr lang="en-US" dirty="0" smtClean="0"/>
          </a:p>
          <a:p>
            <a:pPr eaLnBrk="1" hangingPunct="1"/>
            <a:r>
              <a:rPr lang="en-US" dirty="0" smtClean="0"/>
              <a:t>Low End Market:</a:t>
            </a:r>
          </a:p>
          <a:p>
            <a:pPr eaLnBrk="1" hangingPunct="1"/>
            <a:r>
              <a:rPr lang="en-US" dirty="0" smtClean="0"/>
              <a:t>Key Issues:</a:t>
            </a:r>
          </a:p>
          <a:p>
            <a:pPr marL="136057" lvl="1" indent="-134438" algn="just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Firms like Nokia, HTC launched sub $200 Smartphone to capture the lower end market </a:t>
            </a:r>
          </a:p>
          <a:p>
            <a:pPr marL="136057" lvl="1" indent="-134438" algn="just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BB’s lower end products could not complete with these smart phones</a:t>
            </a:r>
          </a:p>
          <a:p>
            <a:pPr marL="136057" lvl="1" indent="-134438" algn="just" defTabSz="913526">
              <a:buSzPct val="120000"/>
              <a:buFontTx/>
              <a:buChar char="•"/>
              <a:tabLst>
                <a:tab pos="816342" algn="dec"/>
              </a:tabLst>
            </a:pPr>
            <a:endParaRPr lang="en-GB" sz="1300" dirty="0" smtClean="0"/>
          </a:p>
          <a:p>
            <a:pPr marL="1619" lvl="1" indent="0" algn="just" defTabSz="913526">
              <a:buSzPct val="120000"/>
              <a:buFontTx/>
              <a:buNone/>
              <a:tabLst>
                <a:tab pos="816342" algn="dec"/>
              </a:tabLst>
            </a:pPr>
            <a:r>
              <a:rPr lang="en-GB" sz="1300" dirty="0" smtClean="0"/>
              <a:t>Causes: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Product portfolio not refreshed quickly to combat market forces 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Competitors ate away the lower end consumer smartphone market </a:t>
            </a:r>
          </a:p>
          <a:p>
            <a:pPr marL="1619" lvl="1" indent="0" algn="just" defTabSz="913526">
              <a:buSzPct val="120000"/>
              <a:buFontTx/>
              <a:buNone/>
              <a:tabLst>
                <a:tab pos="816342" algn="dec"/>
              </a:tabLst>
            </a:pPr>
            <a:endParaRPr lang="en-GB" sz="1300" dirty="0" smtClean="0"/>
          </a:p>
          <a:p>
            <a:pPr marL="1619" lvl="1" indent="0" algn="just" defTabSz="913526">
              <a:buSzPct val="120000"/>
              <a:buFontTx/>
              <a:buNone/>
              <a:tabLst>
                <a:tab pos="816342" algn="dec"/>
              </a:tabLst>
            </a:pPr>
            <a:r>
              <a:rPr lang="en-GB" sz="1300" dirty="0" smtClean="0"/>
              <a:t>Platform Ecosystem</a:t>
            </a:r>
          </a:p>
          <a:p>
            <a:pPr marL="1619" lvl="1" indent="0" algn="just" defTabSz="913526">
              <a:buSzPct val="120000"/>
              <a:buFontTx/>
              <a:buNone/>
              <a:tabLst>
                <a:tab pos="816342" algn="dec"/>
              </a:tabLst>
            </a:pPr>
            <a:r>
              <a:rPr lang="en-GB" sz="1300" dirty="0" smtClean="0"/>
              <a:t>Key Issues:</a:t>
            </a:r>
          </a:p>
          <a:p>
            <a:pPr marL="136057" lvl="1" indent="-134438" algn="just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Smartphones were no longer a completely stand alone market</a:t>
            </a:r>
          </a:p>
          <a:p>
            <a:pPr marL="136057" lvl="1" indent="-134438" algn="just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Consumer’s buying choices were influenced by degree of integration amongst Notebook, Tablet and Smartphone </a:t>
            </a:r>
          </a:p>
          <a:p>
            <a:pPr marL="136057" lvl="1" indent="-134438" algn="just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Application market migration way from BB</a:t>
            </a:r>
          </a:p>
          <a:p>
            <a:pPr marL="136057" lvl="1" indent="-134438" algn="just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Disastrous foray into Tablet with Playbook</a:t>
            </a:r>
          </a:p>
          <a:p>
            <a:pPr marL="136057" lvl="1" indent="-134438" algn="just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A negative halo begins to form </a:t>
            </a:r>
          </a:p>
          <a:p>
            <a:pPr marL="1619" lvl="1" indent="0" algn="just" defTabSz="913526">
              <a:buSzPct val="120000"/>
              <a:buFontTx/>
              <a:buNone/>
              <a:tabLst>
                <a:tab pos="816342" algn="dec"/>
              </a:tabLst>
            </a:pPr>
            <a:endParaRPr lang="en-GB" sz="1300" dirty="0" smtClean="0"/>
          </a:p>
          <a:p>
            <a:pPr marL="1619" lvl="1" indent="0" algn="just" defTabSz="913526">
              <a:buSzPct val="120000"/>
              <a:buFontTx/>
              <a:buNone/>
              <a:tabLst>
                <a:tab pos="816342" algn="dec"/>
              </a:tabLst>
            </a:pPr>
            <a:r>
              <a:rPr lang="en-GB" sz="1300" dirty="0" smtClean="0"/>
              <a:t>Causes: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Poor R&amp;D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Product failure 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endParaRPr lang="en-GB" sz="1300" dirty="0" smtClean="0"/>
          </a:p>
          <a:p>
            <a:pPr marL="1619" lvl="1" indent="0" defTabSz="913526">
              <a:buSzPct val="120000"/>
              <a:buFontTx/>
              <a:buNone/>
              <a:tabLst>
                <a:tab pos="816342" algn="dec"/>
              </a:tabLst>
            </a:pPr>
            <a:r>
              <a:rPr lang="en-GB" sz="1300" dirty="0" smtClean="0"/>
              <a:t>BYOD: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200" dirty="0" smtClean="0"/>
              <a:t>Bring your own device (BYOD) permeates corporate world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US" sz="1200" dirty="0" smtClean="0"/>
              <a:t>About 75% of employees in high growth markets such as Brazil and Russia and 44% in developed markets already using their own technology at work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200" dirty="0" smtClean="0"/>
              <a:t>Effects hardware and enterprise sales</a:t>
            </a:r>
          </a:p>
          <a:p>
            <a:pPr marL="1619" lvl="1" indent="0" defTabSz="913526">
              <a:buSzPct val="120000"/>
              <a:buFontTx/>
              <a:buNone/>
              <a:tabLst>
                <a:tab pos="816342" algn="dec"/>
              </a:tabLst>
            </a:pPr>
            <a:endParaRPr lang="en-GB" sz="1300" dirty="0" smtClean="0"/>
          </a:p>
          <a:p>
            <a:pPr marL="1619" lvl="1" indent="0" algn="just" defTabSz="913526">
              <a:buSzPct val="120000"/>
              <a:buFontTx/>
              <a:buNone/>
              <a:tabLst>
                <a:tab pos="816342" algn="dec"/>
              </a:tabLst>
            </a:pPr>
            <a:endParaRPr lang="en-GB" sz="1300" dirty="0" smtClean="0"/>
          </a:p>
          <a:p>
            <a:pPr eaLnBrk="1" hangingPunct="1"/>
            <a:r>
              <a:rPr lang="en-US" dirty="0" smtClean="0"/>
              <a:t>Causes: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BB does not release software which can accommodate new landscape 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Corporate customers – the most profitable segment – begin to migrate </a:t>
            </a:r>
          </a:p>
          <a:p>
            <a:pPr eaLnBrk="1" hangingPunct="1"/>
            <a:endParaRPr lang="en-US" dirty="0" smtClean="0"/>
          </a:p>
          <a:p>
            <a:pPr eaLnBrk="1" hangingPunct="1"/>
            <a:endParaRPr lang="en-US" dirty="0" smtClean="0"/>
          </a:p>
          <a:p>
            <a:pPr eaLnBrk="1" hangingPunct="1"/>
            <a:r>
              <a:rPr lang="en-US" dirty="0" smtClean="0"/>
              <a:t>Aging Network:</a:t>
            </a:r>
          </a:p>
          <a:p>
            <a:pPr marL="136057" lvl="1" indent="-134438" algn="just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BB suffers massive global outages </a:t>
            </a:r>
          </a:p>
          <a:p>
            <a:pPr marL="136057" lvl="1" indent="-134438" algn="just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Information delivery delayed infuriating corporate clients</a:t>
            </a:r>
          </a:p>
          <a:p>
            <a:pPr marL="136057" lvl="1" indent="-134438" algn="just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Also an aging network is struggling to compete with 4G/LTE </a:t>
            </a:r>
          </a:p>
          <a:p>
            <a:pPr marL="136057" lvl="1" indent="-134438" algn="just" defTabSz="913526">
              <a:buSzPct val="120000"/>
              <a:buFontTx/>
              <a:buChar char="•"/>
              <a:tabLst>
                <a:tab pos="816342" algn="dec"/>
              </a:tabLst>
            </a:pPr>
            <a:endParaRPr lang="en-GB" sz="1300" dirty="0" smtClean="0"/>
          </a:p>
          <a:p>
            <a:pPr marL="1619" lvl="1" indent="0" algn="just" defTabSz="913526">
              <a:buSzPct val="120000"/>
              <a:buFontTx/>
              <a:buNone/>
              <a:tabLst>
                <a:tab pos="816342" algn="dec"/>
              </a:tabLst>
            </a:pPr>
            <a:r>
              <a:rPr lang="en-GB" sz="1300" dirty="0" smtClean="0"/>
              <a:t>Causes: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A network based on </a:t>
            </a:r>
            <a:r>
              <a:rPr lang="en-GB" sz="1300" dirty="0" err="1" smtClean="0"/>
              <a:t>outdated</a:t>
            </a:r>
            <a:r>
              <a:rPr lang="en-GB" sz="1300" dirty="0" smtClean="0"/>
              <a:t> technology weighs BB more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Give corporate clients more reasons to switch</a:t>
            </a:r>
          </a:p>
          <a:p>
            <a:pPr marL="1619" lvl="1" indent="0" algn="just" defTabSz="913526">
              <a:buSzPct val="120000"/>
              <a:buFontTx/>
              <a:buNone/>
              <a:tabLst>
                <a:tab pos="816342" algn="dec"/>
              </a:tabLst>
            </a:pPr>
            <a:endParaRPr lang="en-GB" sz="1300" dirty="0" smtClean="0"/>
          </a:p>
          <a:p>
            <a:pPr eaLnBrk="1" hangingPunct="1"/>
            <a:endParaRPr lang="en-US" dirty="0" smtClean="0"/>
          </a:p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GB"/>
              <a:t>MEO-ZWJ723-20090209-ARRKP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ED34E15-4418-4EC9-A812-2AA652F5BDE5}" type="slidenum">
              <a:rPr lang="en-GB"/>
              <a:pPr/>
              <a:t>6</a:t>
            </a:fld>
            <a:endParaRPr lang="en-GB"/>
          </a:p>
        </p:txBody>
      </p:sp>
      <p:sp>
        <p:nvSpPr>
          <p:cNvPr id="2918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00225" y="1176338"/>
            <a:ext cx="10417175" cy="7812087"/>
          </a:xfrm>
        </p:spPr>
      </p:sp>
      <p:sp>
        <p:nvSpPr>
          <p:cNvPr id="29184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9883" y="559751"/>
            <a:ext cx="5247909" cy="296967"/>
          </a:xfrm>
        </p:spPr>
        <p:txBody>
          <a:bodyPr/>
          <a:lstStyle/>
          <a:p>
            <a:pPr marR="0" algn="l" rtl="0"/>
            <a:r>
              <a:rPr lang="de-DE" sz="1100" b="1" i="1" baseline="0" dirty="0" smtClean="0">
                <a:solidFill>
                  <a:srgbClr val="000000"/>
                </a:solidFill>
                <a:latin typeface="Times New Roman"/>
              </a:rPr>
              <a:t>Gross Margins:</a:t>
            </a:r>
          </a:p>
          <a:p>
            <a:pPr marR="0" algn="l" rtl="0"/>
            <a:r>
              <a:rPr lang="de-DE" sz="1100" b="0" i="1" baseline="0" dirty="0" smtClean="0">
                <a:solidFill>
                  <a:srgbClr val="000000"/>
                </a:solidFill>
                <a:latin typeface="Times New Roman"/>
              </a:rPr>
              <a:t>USD Millions</a:t>
            </a:r>
            <a:r>
              <a:rPr lang="de-DE" sz="1200" b="1" i="1" baseline="0" dirty="0" smtClean="0">
                <a:solidFill>
                  <a:srgbClr val="000000"/>
                </a:solidFill>
                <a:latin typeface="Times New Roman"/>
              </a:rPr>
              <a:t>		</a:t>
            </a:r>
            <a:r>
              <a:rPr lang="de-DE" sz="1600" b="1" i="1" baseline="0" dirty="0" smtClean="0">
                <a:solidFill>
                  <a:srgbClr val="000000"/>
                </a:solidFill>
                <a:latin typeface="+mn-lt"/>
              </a:rPr>
              <a:t>2013	2012	2011				2013	2012	2011	</a:t>
            </a:r>
            <a:endParaRPr lang="de-DE" sz="1600" b="1" i="1" baseline="0" dirty="0" smtClean="0">
              <a:solidFill>
                <a:srgbClr val="000000"/>
              </a:solidFill>
              <a:latin typeface="Times New Roman"/>
            </a:endParaRPr>
          </a:p>
          <a:p>
            <a:pPr marR="0" algn="l" rtl="0"/>
            <a:r>
              <a:rPr lang="en-US" sz="1200" b="1" baseline="0" dirty="0" smtClean="0">
                <a:solidFill>
                  <a:srgbClr val="000000"/>
                </a:solidFill>
                <a:latin typeface="Times New Roman"/>
              </a:rPr>
              <a:t>Hardware and others</a:t>
            </a:r>
            <a:r>
              <a:rPr lang="en-US" sz="1200" baseline="0" dirty="0" smtClean="0">
                <a:solidFill>
                  <a:srgbClr val="000000"/>
                </a:solidFill>
                <a:latin typeface="Times New Roman"/>
              </a:rPr>
              <a:t>	</a:t>
            </a:r>
            <a:r>
              <a:rPr lang="en-US" sz="1600" baseline="0" dirty="0" smtClean="0">
                <a:solidFill>
                  <a:srgbClr val="000000"/>
                </a:solidFill>
                <a:latin typeface="+mn-lt"/>
              </a:rPr>
              <a:t>				</a:t>
            </a:r>
            <a:r>
              <a:rPr lang="en-US" sz="1200" b="1" baseline="0" dirty="0" smtClean="0">
                <a:solidFill>
                  <a:srgbClr val="000000"/>
                </a:solidFill>
                <a:latin typeface="Times New Roman"/>
              </a:rPr>
              <a:t>Service and software				</a:t>
            </a:r>
            <a:endParaRPr lang="en-US" sz="1600" b="1" baseline="0" dirty="0" smtClean="0">
              <a:solidFill>
                <a:srgbClr val="000000"/>
              </a:solidFill>
              <a:latin typeface="Times New Roman"/>
            </a:endParaRPr>
          </a:p>
          <a:p>
            <a:pPr marR="0" algn="l" rtl="0"/>
            <a:r>
              <a:rPr lang="fr-FR" sz="1200" b="0" baseline="0" dirty="0" smtClean="0">
                <a:solidFill>
                  <a:srgbClr val="000000"/>
                </a:solidFill>
                <a:latin typeface="Times New Roman"/>
              </a:rPr>
              <a:t>Revenue	                     6,902	14,031	16,416	</a:t>
            </a:r>
            <a:r>
              <a:rPr lang="fr-FR" sz="1600" b="0" baseline="0" dirty="0" smtClean="0">
                <a:solidFill>
                  <a:srgbClr val="000000"/>
                </a:solidFill>
                <a:latin typeface="+mn-lt"/>
              </a:rPr>
              <a:t>	</a:t>
            </a:r>
            <a:r>
              <a:rPr lang="fr-FR" sz="1200" b="0" baseline="0" dirty="0" smtClean="0">
                <a:solidFill>
                  <a:srgbClr val="000000"/>
                </a:solidFill>
                <a:latin typeface="Times New Roman"/>
              </a:rPr>
              <a:t>Revenue		4,171	4,392	3,491	</a:t>
            </a:r>
            <a:endParaRPr lang="fr-FR" sz="1600" b="0" baseline="0" dirty="0" smtClean="0">
              <a:solidFill>
                <a:srgbClr val="000000"/>
              </a:solidFill>
              <a:latin typeface="Times New Roman"/>
            </a:endParaRPr>
          </a:p>
          <a:p>
            <a:pPr marR="0" algn="l" rtl="0"/>
            <a:r>
              <a:rPr lang="en-US" sz="1200" b="0" baseline="0" dirty="0" smtClean="0">
                <a:solidFill>
                  <a:srgbClr val="000000"/>
                </a:solidFill>
                <a:latin typeface="Times New Roman"/>
              </a:rPr>
              <a:t>Cost of sales		7,060	11,217	10,516	</a:t>
            </a:r>
            <a:r>
              <a:rPr lang="en-US" sz="1600" b="0" baseline="0" dirty="0" smtClean="0">
                <a:solidFill>
                  <a:srgbClr val="000000"/>
                </a:solidFill>
                <a:latin typeface="+mn-lt"/>
              </a:rPr>
              <a:t>	</a:t>
            </a:r>
            <a:r>
              <a:rPr lang="en-US" sz="1200" b="0" baseline="0" dirty="0" smtClean="0">
                <a:solidFill>
                  <a:srgbClr val="000000"/>
                </a:solidFill>
                <a:latin typeface="Times New Roman"/>
              </a:rPr>
              <a:t>Cost of sales		579	631	566	</a:t>
            </a:r>
            <a:endParaRPr lang="en-US" sz="1600" b="0" baseline="0" dirty="0" smtClean="0">
              <a:solidFill>
                <a:srgbClr val="000000"/>
              </a:solidFill>
              <a:latin typeface="Times New Roman"/>
            </a:endParaRPr>
          </a:p>
          <a:p>
            <a:pPr marR="0" algn="l" rtl="0"/>
            <a:r>
              <a:rPr lang="en-US" sz="1200" b="0" baseline="0" dirty="0" smtClean="0">
                <a:solidFill>
                  <a:srgbClr val="000000"/>
                </a:solidFill>
                <a:latin typeface="Times New Roman"/>
              </a:rPr>
              <a:t>Gross Margin		-158	2,814	5,900	</a:t>
            </a:r>
            <a:r>
              <a:rPr lang="en-US" sz="1600" b="0" baseline="0" dirty="0" smtClean="0">
                <a:solidFill>
                  <a:srgbClr val="000000"/>
                </a:solidFill>
                <a:latin typeface="+mn-lt"/>
              </a:rPr>
              <a:t>	</a:t>
            </a:r>
            <a:r>
              <a:rPr lang="en-US" sz="1200" b="0" baseline="0" dirty="0" smtClean="0">
                <a:solidFill>
                  <a:srgbClr val="000000"/>
                </a:solidFill>
                <a:latin typeface="Times New Roman"/>
              </a:rPr>
              <a:t>Gross Margin		3,592	3,761	2,925	</a:t>
            </a:r>
            <a:endParaRPr lang="en-US" sz="1600" b="0" baseline="0" dirty="0" smtClean="0">
              <a:solidFill>
                <a:srgbClr val="000000"/>
              </a:solidFill>
              <a:latin typeface="Times New Roman"/>
            </a:endParaRPr>
          </a:p>
          <a:p>
            <a:pPr marR="0" algn="l" rtl="0"/>
            <a:r>
              <a:rPr lang="en-US" sz="1200" b="0" baseline="0" dirty="0" smtClean="0">
                <a:solidFill>
                  <a:srgbClr val="000000"/>
                </a:solidFill>
                <a:latin typeface="Times New Roman"/>
              </a:rPr>
              <a:t>% Change </a:t>
            </a:r>
            <a:r>
              <a:rPr lang="en-US" sz="1200" b="0" baseline="0" dirty="0" err="1" smtClean="0">
                <a:solidFill>
                  <a:srgbClr val="000000"/>
                </a:solidFill>
                <a:latin typeface="Times New Roman"/>
              </a:rPr>
              <a:t>yoy</a:t>
            </a:r>
            <a:r>
              <a:rPr lang="en-US" sz="1200" b="0" baseline="0" dirty="0" smtClean="0">
                <a:solidFill>
                  <a:srgbClr val="000000"/>
                </a:solidFill>
                <a:latin typeface="Times New Roman"/>
              </a:rPr>
              <a:t>	-106%	-52%		</a:t>
            </a:r>
            <a:r>
              <a:rPr lang="en-US" sz="1600" b="0" baseline="0" dirty="0" smtClean="0">
                <a:solidFill>
                  <a:srgbClr val="000000"/>
                </a:solidFill>
                <a:latin typeface="+mn-lt"/>
              </a:rPr>
              <a:t>	</a:t>
            </a:r>
            <a:r>
              <a:rPr lang="en-US" sz="1200" b="0" baseline="0" dirty="0" smtClean="0">
                <a:solidFill>
                  <a:srgbClr val="000000"/>
                </a:solidFill>
                <a:latin typeface="Times New Roman"/>
              </a:rPr>
              <a:t>% Change </a:t>
            </a:r>
            <a:r>
              <a:rPr lang="en-US" sz="1200" b="0" baseline="0" dirty="0" err="1" smtClean="0">
                <a:solidFill>
                  <a:srgbClr val="000000"/>
                </a:solidFill>
                <a:latin typeface="Times New Roman"/>
              </a:rPr>
              <a:t>yoy</a:t>
            </a:r>
            <a:r>
              <a:rPr lang="en-US" sz="1200" b="0" baseline="0" dirty="0" smtClean="0">
                <a:solidFill>
                  <a:srgbClr val="000000"/>
                </a:solidFill>
                <a:latin typeface="Times New Roman"/>
              </a:rPr>
              <a:t>	</a:t>
            </a:r>
            <a:r>
              <a:rPr lang="en-US" sz="1600" b="0" baseline="0" dirty="0" smtClean="0">
                <a:solidFill>
                  <a:srgbClr val="000000"/>
                </a:solidFill>
                <a:latin typeface="+mn-lt"/>
              </a:rPr>
              <a:t>-4%	29%		</a:t>
            </a:r>
            <a:endParaRPr lang="en-US" sz="1600" b="0" baseline="0" dirty="0" smtClean="0">
              <a:solidFill>
                <a:srgbClr val="000000"/>
              </a:solidFill>
              <a:latin typeface="Times New Roman"/>
            </a:endParaRPr>
          </a:p>
          <a:p>
            <a:endParaRPr lang="en-GB" b="0" dirty="0" smtClean="0"/>
          </a:p>
          <a:p>
            <a:endParaRPr lang="en-GB" b="0" dirty="0" smtClean="0"/>
          </a:p>
          <a:p>
            <a:pPr marL="144463" lvl="1" indent="-142875" algn="just" defTabSz="895350">
              <a:buSzPct val="120000"/>
              <a:buFontTx/>
              <a:buChar char="•"/>
            </a:pPr>
            <a:r>
              <a:rPr lang="en-GB" sz="1400" dirty="0" smtClean="0"/>
              <a:t>New Hardware revenue declined (52%) y-o-y ; Gross margins declined (106%) y-o-y to touch (158)M </a:t>
            </a:r>
          </a:p>
          <a:p>
            <a:pPr marL="144463" lvl="1" indent="-142875" algn="just" defTabSz="895350">
              <a:buSzPct val="120000"/>
              <a:buFontTx/>
              <a:buChar char="•"/>
            </a:pPr>
            <a:r>
              <a:rPr lang="en-GB" sz="1400" dirty="0" smtClean="0"/>
              <a:t>Service revenue are continued receipts from multi year contracts TCO.  The service margins while declining (4%)  to $3.5B still propped up the overall margins. </a:t>
            </a:r>
          </a:p>
          <a:p>
            <a:pPr marL="144463" lvl="1" indent="-142875" algn="just" defTabSz="895350">
              <a:buSzPct val="120000"/>
              <a:buFontTx/>
              <a:buChar char="•"/>
            </a:pPr>
            <a:r>
              <a:rPr lang="en-GB" sz="1400" dirty="0" smtClean="0"/>
              <a:t>However it is prudent to note that the declining hardware sales will eventually hit the Service revenues once the TCO of aged multi-year contracts begin to lapse </a:t>
            </a:r>
          </a:p>
          <a:p>
            <a:endParaRPr lang="en-GB" b="0" dirty="0" smtClean="0"/>
          </a:p>
          <a:p>
            <a:endParaRPr lang="en-GB" b="0" dirty="0" smtClean="0"/>
          </a:p>
          <a:p>
            <a:pPr marL="144463" lvl="1" indent="-142875" algn="just" defTabSz="895350">
              <a:buSzPct val="120000"/>
              <a:buFontTx/>
              <a:buChar char="•"/>
            </a:pPr>
            <a:r>
              <a:rPr lang="en-US" sz="1400" dirty="0" smtClean="0"/>
              <a:t>Many customers switched to the sell-through method of revenue recognition; when distributors resell products to end-users (sell-through) reflecting struggle re-sell RIM products</a:t>
            </a:r>
          </a:p>
          <a:p>
            <a:pPr marL="144463" lvl="1" indent="-142875" algn="just" defTabSz="895350">
              <a:buSzPct val="120000"/>
              <a:buFontTx/>
              <a:buChar char="•"/>
            </a:pPr>
            <a:r>
              <a:rPr lang="en-US" sz="1400" dirty="0" smtClean="0"/>
              <a:t>RIM also recorded losses on Inventory provisions because of its aging product platform which has suffered in a fiercely competitive market. </a:t>
            </a:r>
          </a:p>
          <a:p>
            <a:pPr marL="144463" lvl="1" indent="-142875" algn="just" defTabSz="895350">
              <a:buSzPct val="120000"/>
              <a:buFontTx/>
              <a:buChar char="•"/>
            </a:pPr>
            <a:r>
              <a:rPr lang="en-US" sz="1400" dirty="0" smtClean="0"/>
              <a:t>During fiscal 2012, the Company recorded pre-tax provisions on its inventory of $752 Million (on BlackBerry </a:t>
            </a:r>
            <a:r>
              <a:rPr lang="en-US" sz="1400" dirty="0" err="1" smtClean="0"/>
              <a:t>PlayBooks</a:t>
            </a:r>
            <a:r>
              <a:rPr lang="en-US" sz="1400" dirty="0" smtClean="0"/>
              <a:t> of approximately $485 million and on BlackBerry 7 smartphones of approximately $267 million) </a:t>
            </a:r>
            <a:endParaRPr lang="en-GB" sz="1400" dirty="0" smtClean="0"/>
          </a:p>
          <a:p>
            <a:endParaRPr lang="en-GB" b="0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7538" name="doc id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en-GB"/>
              <a:t>DBI-AAA123-20081011-</a:t>
            </a:r>
          </a:p>
        </p:txBody>
      </p:sp>
      <p:sp>
        <p:nvSpPr>
          <p:cNvPr id="577539" name="pg num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F908914-3490-4CC8-A0BA-419089F39ADF}" type="slidenum">
              <a:rPr lang="en-GB"/>
              <a:pPr/>
              <a:t>7</a:t>
            </a:fld>
            <a:endParaRPr lang="en-GB"/>
          </a:p>
        </p:txBody>
      </p:sp>
      <p:sp>
        <p:nvSpPr>
          <p:cNvPr id="57754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798638" y="1177925"/>
            <a:ext cx="10412413" cy="7810500"/>
          </a:xfrm>
        </p:spPr>
      </p:sp>
      <p:sp>
        <p:nvSpPr>
          <p:cNvPr id="57754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023" y="327156"/>
            <a:ext cx="6102737" cy="284217"/>
          </a:xfrm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7538" name="doc id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en-GB"/>
              <a:t>DBI-AAA123-20081011-</a:t>
            </a:r>
          </a:p>
        </p:txBody>
      </p:sp>
      <p:sp>
        <p:nvSpPr>
          <p:cNvPr id="577539" name="pg num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F908914-3490-4CC8-A0BA-419089F39ADF}" type="slidenum">
              <a:rPr lang="en-GB"/>
              <a:pPr/>
              <a:t>8</a:t>
            </a:fld>
            <a:endParaRPr lang="en-GB"/>
          </a:p>
        </p:txBody>
      </p:sp>
      <p:sp>
        <p:nvSpPr>
          <p:cNvPr id="57754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798638" y="1177925"/>
            <a:ext cx="10412413" cy="7810500"/>
          </a:xfrm>
        </p:spPr>
      </p:sp>
      <p:sp>
        <p:nvSpPr>
          <p:cNvPr id="57754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023" y="327156"/>
            <a:ext cx="6102737" cy="284217"/>
          </a:xfrm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6AD8C23-8DE5-4D93-B381-CCC645FF3BE6}" type="slidenum">
              <a:rPr lang="en-GB"/>
              <a:pPr/>
              <a:t>9</a:t>
            </a:fld>
            <a:endParaRPr lang="en-GB" dirty="0"/>
          </a:p>
        </p:txBody>
      </p:sp>
      <p:sp>
        <p:nvSpPr>
          <p:cNvPr id="2308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52475" y="573088"/>
            <a:ext cx="5360988" cy="4022725"/>
          </a:xfrm>
          <a:ln/>
        </p:spPr>
      </p:sp>
      <p:sp>
        <p:nvSpPr>
          <p:cNvPr id="23080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5972" y="4913965"/>
            <a:ext cx="5842345" cy="227975"/>
          </a:xfrm>
        </p:spPr>
        <p:txBody>
          <a:bodyPr/>
          <a:lstStyle/>
          <a:p>
            <a:endParaRPr lang="cs-CZ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GB"/>
              <a:t>MEO-ZWJ723-20090209-ARRKP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ED34E15-4418-4EC9-A812-2AA652F5BDE5}" type="slidenum">
              <a:rPr lang="en-GB"/>
              <a:pPr/>
              <a:t>10</a:t>
            </a:fld>
            <a:endParaRPr lang="en-GB"/>
          </a:p>
        </p:txBody>
      </p:sp>
      <p:sp>
        <p:nvSpPr>
          <p:cNvPr id="2918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00225" y="1176338"/>
            <a:ext cx="10417175" cy="7812087"/>
          </a:xfrm>
        </p:spPr>
      </p:sp>
      <p:sp>
        <p:nvSpPr>
          <p:cNvPr id="29184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9883" y="559751"/>
            <a:ext cx="5247909" cy="296967"/>
          </a:xfrm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GB"/>
              <a:t>MEO-ZWJ723-20090209-ARRKP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ED34E15-4418-4EC9-A812-2AA652F5BDE5}" type="slidenum">
              <a:rPr lang="en-GB"/>
              <a:pPr/>
              <a:t>11</a:t>
            </a:fld>
            <a:endParaRPr lang="en-GB"/>
          </a:p>
        </p:txBody>
      </p:sp>
      <p:sp>
        <p:nvSpPr>
          <p:cNvPr id="2918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00225" y="1176338"/>
            <a:ext cx="10417175" cy="7812087"/>
          </a:xfrm>
        </p:spPr>
      </p:sp>
      <p:sp>
        <p:nvSpPr>
          <p:cNvPr id="29184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9883" y="559751"/>
            <a:ext cx="5247909" cy="296967"/>
          </a:xfrm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45C64-6B43-4ACD-BAA3-B43FAE6C100F}" type="datetimeFigureOut">
              <a:rPr lang="en-US" smtClean="0"/>
              <a:pPr/>
              <a:t>23/10/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2D106-99EF-44EC-B361-16F096D8EC2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45C64-6B43-4ACD-BAA3-B43FAE6C100F}" type="datetimeFigureOut">
              <a:rPr lang="en-US" smtClean="0"/>
              <a:pPr/>
              <a:t>23/10/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2D106-99EF-44EC-B361-16F096D8EC2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45C64-6B43-4ACD-BAA3-B43FAE6C100F}" type="datetimeFigureOut">
              <a:rPr lang="en-US" smtClean="0"/>
              <a:pPr/>
              <a:t>23/10/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2D106-99EF-44EC-B361-16F096D8EC2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45C64-6B43-4ACD-BAA3-B43FAE6C100F}" type="datetimeFigureOut">
              <a:rPr lang="en-US" smtClean="0"/>
              <a:pPr/>
              <a:t>23/10/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2D106-99EF-44EC-B361-16F096D8EC2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45C64-6B43-4ACD-BAA3-B43FAE6C100F}" type="datetimeFigureOut">
              <a:rPr lang="en-US" smtClean="0"/>
              <a:pPr/>
              <a:t>23/10/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2D106-99EF-44EC-B361-16F096D8EC2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45C64-6B43-4ACD-BAA3-B43FAE6C100F}" type="datetimeFigureOut">
              <a:rPr lang="en-US" smtClean="0"/>
              <a:pPr/>
              <a:t>23/10/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2D106-99EF-44EC-B361-16F096D8EC2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45C64-6B43-4ACD-BAA3-B43FAE6C100F}" type="datetimeFigureOut">
              <a:rPr lang="en-US" smtClean="0"/>
              <a:pPr/>
              <a:t>23/10/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2D106-99EF-44EC-B361-16F096D8EC2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45C64-6B43-4ACD-BAA3-B43FAE6C100F}" type="datetimeFigureOut">
              <a:rPr lang="en-US" smtClean="0"/>
              <a:pPr/>
              <a:t>23/10/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2D106-99EF-44EC-B361-16F096D8EC2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45C64-6B43-4ACD-BAA3-B43FAE6C100F}" type="datetimeFigureOut">
              <a:rPr lang="en-US" smtClean="0"/>
              <a:pPr/>
              <a:t>23/10/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2D106-99EF-44EC-B361-16F096D8EC2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45C64-6B43-4ACD-BAA3-B43FAE6C100F}" type="datetimeFigureOut">
              <a:rPr lang="en-US" smtClean="0"/>
              <a:pPr/>
              <a:t>23/10/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2D106-99EF-44EC-B361-16F096D8EC2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45C64-6B43-4ACD-BAA3-B43FAE6C100F}" type="datetimeFigureOut">
              <a:rPr lang="en-US" smtClean="0"/>
              <a:pPr/>
              <a:t>23/10/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2D106-99EF-44EC-B361-16F096D8EC2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345C64-6B43-4ACD-BAA3-B43FAE6C100F}" type="datetimeFigureOut">
              <a:rPr lang="en-US" smtClean="0"/>
              <a:pPr/>
              <a:t>23/10/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22D106-99EF-44EC-B361-16F096D8EC20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6.png"/><Relationship Id="rId12" Type="http://schemas.openxmlformats.org/officeDocument/2006/relationships/image" Target="../media/image7.jpeg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7" Type="http://schemas.openxmlformats.org/officeDocument/2006/relationships/image" Target="../media/image2.jpeg"/><Relationship Id="rId8" Type="http://schemas.openxmlformats.org/officeDocument/2006/relationships/image" Target="../media/image3.jpeg"/><Relationship Id="rId9" Type="http://schemas.openxmlformats.org/officeDocument/2006/relationships/image" Target="../media/image4.jpeg"/><Relationship Id="rId10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11" Type="http://schemas.microsoft.com/office/2007/relationships/diagramDrawing" Target="../diagrams/drawing1.xml"/><Relationship Id="rId12" Type="http://schemas.openxmlformats.org/officeDocument/2006/relationships/image" Target="../media/image11.png"/><Relationship Id="rId13" Type="http://schemas.openxmlformats.org/officeDocument/2006/relationships/image" Target="../media/image8.jpeg"/><Relationship Id="rId1" Type="http://schemas.openxmlformats.org/officeDocument/2006/relationships/vmlDrawing" Target="../drawings/vmlDrawing5.vml"/><Relationship Id="rId2" Type="http://schemas.openxmlformats.org/officeDocument/2006/relationships/tags" Target="../tags/tag59.xml"/><Relationship Id="rId3" Type="http://schemas.openxmlformats.org/officeDocument/2006/relationships/tags" Target="../tags/tag60.xml"/><Relationship Id="rId4" Type="http://schemas.openxmlformats.org/officeDocument/2006/relationships/slideLayout" Target="../slideLayouts/slideLayout6.xml"/><Relationship Id="rId5" Type="http://schemas.openxmlformats.org/officeDocument/2006/relationships/notesSlide" Target="../notesSlides/notesSlide8.xml"/><Relationship Id="rId6" Type="http://schemas.openxmlformats.org/officeDocument/2006/relationships/oleObject" Target="../embeddings/oleObject5.bin"/><Relationship Id="rId7" Type="http://schemas.openxmlformats.org/officeDocument/2006/relationships/diagramData" Target="../diagrams/data1.xml"/><Relationship Id="rId8" Type="http://schemas.openxmlformats.org/officeDocument/2006/relationships/diagramLayout" Target="../diagrams/layout1.xml"/><Relationship Id="rId9" Type="http://schemas.openxmlformats.org/officeDocument/2006/relationships/diagramQuickStyle" Target="../diagrams/quickStyle1.xml"/><Relationship Id="rId10" Type="http://schemas.openxmlformats.org/officeDocument/2006/relationships/diagramColors" Target="../diagrams/colors1.xml"/></Relationships>
</file>

<file path=ppt/slides/_rels/slide11.xml.rels><?xml version="1.0" encoding="UTF-8" standalone="yes"?>
<Relationships xmlns="http://schemas.openxmlformats.org/package/2006/relationships"><Relationship Id="rId11" Type="http://schemas.microsoft.com/office/2007/relationships/diagramDrawing" Target="../diagrams/drawing2.xml"/><Relationship Id="rId12" Type="http://schemas.openxmlformats.org/officeDocument/2006/relationships/image" Target="../media/image8.jpeg"/><Relationship Id="rId1" Type="http://schemas.openxmlformats.org/officeDocument/2006/relationships/vmlDrawing" Target="../drawings/vmlDrawing6.vml"/><Relationship Id="rId2" Type="http://schemas.openxmlformats.org/officeDocument/2006/relationships/tags" Target="../tags/tag61.xml"/><Relationship Id="rId3" Type="http://schemas.openxmlformats.org/officeDocument/2006/relationships/tags" Target="../tags/tag62.xml"/><Relationship Id="rId4" Type="http://schemas.openxmlformats.org/officeDocument/2006/relationships/slideLayout" Target="../slideLayouts/slideLayout6.xml"/><Relationship Id="rId5" Type="http://schemas.openxmlformats.org/officeDocument/2006/relationships/notesSlide" Target="../notesSlides/notesSlide9.xml"/><Relationship Id="rId6" Type="http://schemas.openxmlformats.org/officeDocument/2006/relationships/oleObject" Target="../embeddings/oleObject6.bin"/><Relationship Id="rId7" Type="http://schemas.openxmlformats.org/officeDocument/2006/relationships/diagramData" Target="../diagrams/data2.xml"/><Relationship Id="rId8" Type="http://schemas.openxmlformats.org/officeDocument/2006/relationships/diagramLayout" Target="../diagrams/layout2.xml"/><Relationship Id="rId9" Type="http://schemas.openxmlformats.org/officeDocument/2006/relationships/diagramQuickStyle" Target="../diagrams/quickStyle2.xml"/><Relationship Id="rId10" Type="http://schemas.openxmlformats.org/officeDocument/2006/relationships/diagramColors" Target="../diagrams/colors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4" Type="http://schemas.openxmlformats.org/officeDocument/2006/relationships/slideLayout" Target="../slideLayouts/slideLayout6.xml"/><Relationship Id="rId5" Type="http://schemas.openxmlformats.org/officeDocument/2006/relationships/notesSlide" Target="../notesSlides/notesSlide10.xml"/><Relationship Id="rId6" Type="http://schemas.openxmlformats.org/officeDocument/2006/relationships/oleObject" Target="../embeddings/oleObject7.bin"/><Relationship Id="rId7" Type="http://schemas.openxmlformats.org/officeDocument/2006/relationships/image" Target="../media/image12.png"/><Relationship Id="rId8" Type="http://schemas.openxmlformats.org/officeDocument/2006/relationships/image" Target="../media/image8.jpeg"/><Relationship Id="rId1" Type="http://schemas.openxmlformats.org/officeDocument/2006/relationships/vmlDrawing" Target="../drawings/vmlDrawing7.vml"/><Relationship Id="rId2" Type="http://schemas.openxmlformats.org/officeDocument/2006/relationships/tags" Target="../tags/tag6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4" Type="http://schemas.openxmlformats.org/officeDocument/2006/relationships/slideLayout" Target="../slideLayouts/slideLayout6.xml"/><Relationship Id="rId5" Type="http://schemas.openxmlformats.org/officeDocument/2006/relationships/notesSlide" Target="../notesSlides/notesSlide11.xml"/><Relationship Id="rId6" Type="http://schemas.openxmlformats.org/officeDocument/2006/relationships/oleObject" Target="../embeddings/oleObject8.bin"/><Relationship Id="rId7" Type="http://schemas.openxmlformats.org/officeDocument/2006/relationships/image" Target="../media/image13.png"/><Relationship Id="rId8" Type="http://schemas.openxmlformats.org/officeDocument/2006/relationships/image" Target="../media/image14.png"/><Relationship Id="rId9" Type="http://schemas.openxmlformats.org/officeDocument/2006/relationships/image" Target="../media/image8.jpeg"/><Relationship Id="rId1" Type="http://schemas.openxmlformats.org/officeDocument/2006/relationships/vmlDrawing" Target="../drawings/vmlDrawing8.vml"/><Relationship Id="rId2" Type="http://schemas.openxmlformats.org/officeDocument/2006/relationships/tags" Target="../tags/tag65.xml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diagramData" Target="../diagrams/data3.xml"/><Relationship Id="rId20" Type="http://schemas.openxmlformats.org/officeDocument/2006/relationships/image" Target="../media/image8.jpeg"/><Relationship Id="rId10" Type="http://schemas.openxmlformats.org/officeDocument/2006/relationships/diagramLayout" Target="../diagrams/layout3.xml"/><Relationship Id="rId11" Type="http://schemas.openxmlformats.org/officeDocument/2006/relationships/diagramQuickStyle" Target="../diagrams/quickStyle3.xml"/><Relationship Id="rId12" Type="http://schemas.openxmlformats.org/officeDocument/2006/relationships/diagramColors" Target="../diagrams/colors3.xml"/><Relationship Id="rId13" Type="http://schemas.microsoft.com/office/2007/relationships/diagramDrawing" Target="../diagrams/drawing3.xml"/><Relationship Id="rId14" Type="http://schemas.openxmlformats.org/officeDocument/2006/relationships/diagramData" Target="../diagrams/data4.xml"/><Relationship Id="rId15" Type="http://schemas.openxmlformats.org/officeDocument/2006/relationships/diagramLayout" Target="../diagrams/layout4.xml"/><Relationship Id="rId16" Type="http://schemas.openxmlformats.org/officeDocument/2006/relationships/diagramQuickStyle" Target="../diagrams/quickStyle4.xml"/><Relationship Id="rId17" Type="http://schemas.openxmlformats.org/officeDocument/2006/relationships/diagramColors" Target="../diagrams/colors4.xml"/><Relationship Id="rId18" Type="http://schemas.microsoft.com/office/2007/relationships/diagramDrawing" Target="../diagrams/drawing4.xml"/><Relationship Id="rId19" Type="http://schemas.openxmlformats.org/officeDocument/2006/relationships/image" Target="../media/image17.png"/><Relationship Id="rId1" Type="http://schemas.openxmlformats.org/officeDocument/2006/relationships/vmlDrawing" Target="../drawings/vmlDrawing9.vml"/><Relationship Id="rId2" Type="http://schemas.openxmlformats.org/officeDocument/2006/relationships/tags" Target="../tags/tag67.xml"/><Relationship Id="rId3" Type="http://schemas.openxmlformats.org/officeDocument/2006/relationships/tags" Target="../tags/tag68.xml"/><Relationship Id="rId4" Type="http://schemas.openxmlformats.org/officeDocument/2006/relationships/slideLayout" Target="../slideLayouts/slideLayout6.xml"/><Relationship Id="rId5" Type="http://schemas.openxmlformats.org/officeDocument/2006/relationships/notesSlide" Target="../notesSlides/notesSlide12.xml"/><Relationship Id="rId6" Type="http://schemas.openxmlformats.org/officeDocument/2006/relationships/oleObject" Target="../embeddings/oleObject9.bin"/><Relationship Id="rId7" Type="http://schemas.openxmlformats.org/officeDocument/2006/relationships/image" Target="../media/image15.png"/><Relationship Id="rId8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4" Type="http://schemas.openxmlformats.org/officeDocument/2006/relationships/notesSlide" Target="../notesSlides/notesSlide13.xml"/><Relationship Id="rId5" Type="http://schemas.openxmlformats.org/officeDocument/2006/relationships/oleObject" Target="../embeddings/oleObject10.bin"/><Relationship Id="rId6" Type="http://schemas.openxmlformats.org/officeDocument/2006/relationships/image" Target="../media/image18.png"/><Relationship Id="rId7" Type="http://schemas.openxmlformats.org/officeDocument/2006/relationships/image" Target="../media/image19.png"/><Relationship Id="rId8" Type="http://schemas.openxmlformats.org/officeDocument/2006/relationships/image" Target="../media/image8.jpeg"/><Relationship Id="rId1" Type="http://schemas.openxmlformats.org/officeDocument/2006/relationships/vmlDrawing" Target="../drawings/vmlDrawing10.vml"/><Relationship Id="rId2" Type="http://schemas.openxmlformats.org/officeDocument/2006/relationships/tags" Target="../tags/tag6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4" Type="http://schemas.openxmlformats.org/officeDocument/2006/relationships/slideLayout" Target="../slideLayouts/slideLayout6.xml"/><Relationship Id="rId5" Type="http://schemas.openxmlformats.org/officeDocument/2006/relationships/notesSlide" Target="../notesSlides/notesSlide14.xml"/><Relationship Id="rId6" Type="http://schemas.openxmlformats.org/officeDocument/2006/relationships/oleObject" Target="../embeddings/oleObject11.bin"/><Relationship Id="rId7" Type="http://schemas.openxmlformats.org/officeDocument/2006/relationships/image" Target="../media/image20.png"/><Relationship Id="rId8" Type="http://schemas.openxmlformats.org/officeDocument/2006/relationships/image" Target="../media/image8.jpeg"/><Relationship Id="rId1" Type="http://schemas.openxmlformats.org/officeDocument/2006/relationships/vmlDrawing" Target="../drawings/vmlDrawing11.vml"/><Relationship Id="rId2" Type="http://schemas.openxmlformats.org/officeDocument/2006/relationships/tags" Target="../tags/tag7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4" Type="http://schemas.openxmlformats.org/officeDocument/2006/relationships/slideLayout" Target="../slideLayouts/slideLayout6.xml"/><Relationship Id="rId5" Type="http://schemas.openxmlformats.org/officeDocument/2006/relationships/notesSlide" Target="../notesSlides/notesSlide15.xml"/><Relationship Id="rId6" Type="http://schemas.openxmlformats.org/officeDocument/2006/relationships/oleObject" Target="../embeddings/oleObject12.bin"/><Relationship Id="rId7" Type="http://schemas.openxmlformats.org/officeDocument/2006/relationships/image" Target="../media/image20.png"/><Relationship Id="rId1" Type="http://schemas.openxmlformats.org/officeDocument/2006/relationships/vmlDrawing" Target="../drawings/vmlDrawing12.vml"/><Relationship Id="rId2" Type="http://schemas.openxmlformats.org/officeDocument/2006/relationships/tags" Target="../tags/tag7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4" Type="http://schemas.openxmlformats.org/officeDocument/2006/relationships/notesSlide" Target="../notesSlides/notesSlide16.xml"/><Relationship Id="rId5" Type="http://schemas.openxmlformats.org/officeDocument/2006/relationships/image" Target="../media/image8.jpeg"/><Relationship Id="rId1" Type="http://schemas.openxmlformats.org/officeDocument/2006/relationships/tags" Target="../tags/tag74.xml"/><Relationship Id="rId2" Type="http://schemas.openxmlformats.org/officeDocument/2006/relationships/tags" Target="../tags/tag75.xml"/></Relationships>
</file>

<file path=ppt/slides/_rels/slide19.xml.rels><?xml version="1.0" encoding="UTF-8" standalone="yes"?>
<Relationships xmlns="http://schemas.openxmlformats.org/package/2006/relationships"><Relationship Id="rId11" Type="http://schemas.microsoft.com/office/2007/relationships/diagramDrawing" Target="../diagrams/drawing5.xml"/><Relationship Id="rId12" Type="http://schemas.openxmlformats.org/officeDocument/2006/relationships/diagramData" Target="../diagrams/data6.xml"/><Relationship Id="rId13" Type="http://schemas.openxmlformats.org/officeDocument/2006/relationships/diagramLayout" Target="../diagrams/layout6.xml"/><Relationship Id="rId14" Type="http://schemas.openxmlformats.org/officeDocument/2006/relationships/diagramQuickStyle" Target="../diagrams/quickStyle6.xml"/><Relationship Id="rId15" Type="http://schemas.openxmlformats.org/officeDocument/2006/relationships/diagramColors" Target="../diagrams/colors6.xml"/><Relationship Id="rId16" Type="http://schemas.microsoft.com/office/2007/relationships/diagramDrawing" Target="../diagrams/drawing6.xml"/><Relationship Id="rId17" Type="http://schemas.openxmlformats.org/officeDocument/2006/relationships/image" Target="../media/image8.jpeg"/><Relationship Id="rId1" Type="http://schemas.openxmlformats.org/officeDocument/2006/relationships/vmlDrawing" Target="../drawings/vmlDrawing13.vml"/><Relationship Id="rId2" Type="http://schemas.openxmlformats.org/officeDocument/2006/relationships/tags" Target="../tags/tag76.xml"/><Relationship Id="rId3" Type="http://schemas.openxmlformats.org/officeDocument/2006/relationships/tags" Target="../tags/tag77.xml"/><Relationship Id="rId4" Type="http://schemas.openxmlformats.org/officeDocument/2006/relationships/slideLayout" Target="../slideLayouts/slideLayout6.xml"/><Relationship Id="rId5" Type="http://schemas.openxmlformats.org/officeDocument/2006/relationships/notesSlide" Target="../notesSlides/notesSlide17.xml"/><Relationship Id="rId6" Type="http://schemas.openxmlformats.org/officeDocument/2006/relationships/oleObject" Target="../embeddings/oleObject13.bin"/><Relationship Id="rId7" Type="http://schemas.openxmlformats.org/officeDocument/2006/relationships/diagramData" Target="../diagrams/data5.xml"/><Relationship Id="rId8" Type="http://schemas.openxmlformats.org/officeDocument/2006/relationships/diagramLayout" Target="../diagrams/layout5.xml"/><Relationship Id="rId9" Type="http://schemas.openxmlformats.org/officeDocument/2006/relationships/diagramQuickStyle" Target="../diagrams/quickStyle5.xml"/><Relationship Id="rId10" Type="http://schemas.openxmlformats.org/officeDocument/2006/relationships/diagramColors" Target="../diagrams/colors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4" Type="http://schemas.openxmlformats.org/officeDocument/2006/relationships/notesSlide" Target="../notesSlides/notesSlide1.xml"/><Relationship Id="rId5" Type="http://schemas.openxmlformats.org/officeDocument/2006/relationships/image" Target="../media/image8.jpeg"/><Relationship Id="rId1" Type="http://schemas.openxmlformats.org/officeDocument/2006/relationships/tags" Target="../tags/tag5.xml"/><Relationship Id="rId2" Type="http://schemas.openxmlformats.org/officeDocument/2006/relationships/tags" Target="../tags/tag6.xml"/></Relationships>
</file>

<file path=ppt/slides/_rels/slide20.xml.rels><?xml version="1.0" encoding="UTF-8" standalone="yes"?>
<Relationships xmlns="http://schemas.openxmlformats.org/package/2006/relationships"><Relationship Id="rId11" Type="http://schemas.microsoft.com/office/2007/relationships/diagramDrawing" Target="../diagrams/drawing7.xml"/><Relationship Id="rId12" Type="http://schemas.openxmlformats.org/officeDocument/2006/relationships/diagramData" Target="../diagrams/data8.xml"/><Relationship Id="rId13" Type="http://schemas.openxmlformats.org/officeDocument/2006/relationships/diagramLayout" Target="../diagrams/layout8.xml"/><Relationship Id="rId14" Type="http://schemas.openxmlformats.org/officeDocument/2006/relationships/diagramQuickStyle" Target="../diagrams/quickStyle8.xml"/><Relationship Id="rId15" Type="http://schemas.openxmlformats.org/officeDocument/2006/relationships/diagramColors" Target="../diagrams/colors8.xml"/><Relationship Id="rId16" Type="http://schemas.microsoft.com/office/2007/relationships/diagramDrawing" Target="../diagrams/drawing8.xml"/><Relationship Id="rId17" Type="http://schemas.openxmlformats.org/officeDocument/2006/relationships/image" Target="../media/image8.jpeg"/><Relationship Id="rId1" Type="http://schemas.openxmlformats.org/officeDocument/2006/relationships/vmlDrawing" Target="../drawings/vmlDrawing14.vml"/><Relationship Id="rId2" Type="http://schemas.openxmlformats.org/officeDocument/2006/relationships/tags" Target="../tags/tag78.xml"/><Relationship Id="rId3" Type="http://schemas.openxmlformats.org/officeDocument/2006/relationships/tags" Target="../tags/tag79.xml"/><Relationship Id="rId4" Type="http://schemas.openxmlformats.org/officeDocument/2006/relationships/slideLayout" Target="../slideLayouts/slideLayout6.xml"/><Relationship Id="rId5" Type="http://schemas.openxmlformats.org/officeDocument/2006/relationships/notesSlide" Target="../notesSlides/notesSlide18.xml"/><Relationship Id="rId6" Type="http://schemas.openxmlformats.org/officeDocument/2006/relationships/oleObject" Target="../embeddings/oleObject14.bin"/><Relationship Id="rId7" Type="http://schemas.openxmlformats.org/officeDocument/2006/relationships/diagramData" Target="../diagrams/data7.xml"/><Relationship Id="rId8" Type="http://schemas.openxmlformats.org/officeDocument/2006/relationships/diagramLayout" Target="../diagrams/layout7.xml"/><Relationship Id="rId9" Type="http://schemas.openxmlformats.org/officeDocument/2006/relationships/diagramQuickStyle" Target="../diagrams/quickStyle7.xml"/><Relationship Id="rId10" Type="http://schemas.openxmlformats.org/officeDocument/2006/relationships/diagramColors" Target="../diagrams/colors7.xml"/></Relationships>
</file>

<file path=ppt/slides/_rels/slide21.xml.rels><?xml version="1.0" encoding="UTF-8" standalone="yes"?>
<Relationships xmlns="http://schemas.openxmlformats.org/package/2006/relationships"><Relationship Id="rId11" Type="http://schemas.microsoft.com/office/2007/relationships/diagramDrawing" Target="../diagrams/drawing9.xml"/><Relationship Id="rId12" Type="http://schemas.openxmlformats.org/officeDocument/2006/relationships/image" Target="../media/image8.jpeg"/><Relationship Id="rId1" Type="http://schemas.openxmlformats.org/officeDocument/2006/relationships/vmlDrawing" Target="../drawings/vmlDrawing15.vml"/><Relationship Id="rId2" Type="http://schemas.openxmlformats.org/officeDocument/2006/relationships/tags" Target="../tags/tag80.xml"/><Relationship Id="rId3" Type="http://schemas.openxmlformats.org/officeDocument/2006/relationships/tags" Target="../tags/tag81.xml"/><Relationship Id="rId4" Type="http://schemas.openxmlformats.org/officeDocument/2006/relationships/slideLayout" Target="../slideLayouts/slideLayout6.xml"/><Relationship Id="rId5" Type="http://schemas.openxmlformats.org/officeDocument/2006/relationships/notesSlide" Target="../notesSlides/notesSlide19.xml"/><Relationship Id="rId6" Type="http://schemas.openxmlformats.org/officeDocument/2006/relationships/oleObject" Target="../embeddings/oleObject15.bin"/><Relationship Id="rId7" Type="http://schemas.openxmlformats.org/officeDocument/2006/relationships/diagramData" Target="../diagrams/data9.xml"/><Relationship Id="rId8" Type="http://schemas.openxmlformats.org/officeDocument/2006/relationships/diagramLayout" Target="../diagrams/layout9.xml"/><Relationship Id="rId9" Type="http://schemas.openxmlformats.org/officeDocument/2006/relationships/diagramQuickStyle" Target="../diagrams/quickStyle9.xml"/><Relationship Id="rId10" Type="http://schemas.openxmlformats.org/officeDocument/2006/relationships/diagramColors" Target="../diagrams/colors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4" Type="http://schemas.openxmlformats.org/officeDocument/2006/relationships/notesSlide" Target="../notesSlides/notesSlide20.xml"/><Relationship Id="rId5" Type="http://schemas.openxmlformats.org/officeDocument/2006/relationships/image" Target="../media/image8.jpeg"/><Relationship Id="rId1" Type="http://schemas.openxmlformats.org/officeDocument/2006/relationships/tags" Target="../tags/tag82.xml"/><Relationship Id="rId2" Type="http://schemas.openxmlformats.org/officeDocument/2006/relationships/tags" Target="../tags/tag8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4" Type="http://schemas.openxmlformats.org/officeDocument/2006/relationships/slideLayout" Target="../slideLayouts/slideLayout6.xml"/><Relationship Id="rId5" Type="http://schemas.openxmlformats.org/officeDocument/2006/relationships/notesSlide" Target="../notesSlides/notesSlide21.xml"/><Relationship Id="rId6" Type="http://schemas.openxmlformats.org/officeDocument/2006/relationships/oleObject" Target="../embeddings/oleObject16.bin"/><Relationship Id="rId7" Type="http://schemas.openxmlformats.org/officeDocument/2006/relationships/image" Target="../media/image8.jpeg"/><Relationship Id="rId1" Type="http://schemas.openxmlformats.org/officeDocument/2006/relationships/vmlDrawing" Target="../drawings/vmlDrawing16.vml"/><Relationship Id="rId2" Type="http://schemas.openxmlformats.org/officeDocument/2006/relationships/tags" Target="../tags/tag8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4" Type="http://schemas.openxmlformats.org/officeDocument/2006/relationships/image" Target="../media/image21.png"/><Relationship Id="rId1" Type="http://schemas.openxmlformats.org/officeDocument/2006/relationships/tags" Target="../tags/tag86.xml"/><Relationship Id="rId2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tags" Target="../tags/tag87.xml"/><Relationship Id="rId2" Type="http://schemas.openxmlformats.org/officeDocument/2006/relationships/slideLayout" Target="../slideLayouts/slideLayout6.xml"/><Relationship Id="rId3" Type="http://schemas.openxmlformats.org/officeDocument/2006/relationships/image" Target="../media/image8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4" Type="http://schemas.openxmlformats.org/officeDocument/2006/relationships/slideLayout" Target="../slideLayouts/slideLayout6.xml"/><Relationship Id="rId5" Type="http://schemas.openxmlformats.org/officeDocument/2006/relationships/notesSlide" Target="../notesSlides/notesSlide22.xml"/><Relationship Id="rId6" Type="http://schemas.openxmlformats.org/officeDocument/2006/relationships/oleObject" Target="../embeddings/oleObject17.bin"/><Relationship Id="rId7" Type="http://schemas.openxmlformats.org/officeDocument/2006/relationships/image" Target="../media/image8.jpeg"/><Relationship Id="rId1" Type="http://schemas.openxmlformats.org/officeDocument/2006/relationships/vmlDrawing" Target="../drawings/vmlDrawing17.vml"/><Relationship Id="rId2" Type="http://schemas.openxmlformats.org/officeDocument/2006/relationships/tags" Target="../tags/tag8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image" Target="../media/image1.jpeg"/><Relationship Id="rId5" Type="http://schemas.openxmlformats.org/officeDocument/2006/relationships/image" Target="../media/image2.jpeg"/><Relationship Id="rId6" Type="http://schemas.openxmlformats.org/officeDocument/2006/relationships/image" Target="../media/image3.jpeg"/><Relationship Id="rId7" Type="http://schemas.openxmlformats.org/officeDocument/2006/relationships/image" Target="../media/image4.jpeg"/><Relationship Id="rId8" Type="http://schemas.openxmlformats.org/officeDocument/2006/relationships/image" Target="../media/image5.jpeg"/><Relationship Id="rId9" Type="http://schemas.openxmlformats.org/officeDocument/2006/relationships/image" Target="../media/image6.png"/><Relationship Id="rId10" Type="http://schemas.openxmlformats.org/officeDocument/2006/relationships/image" Target="../media/image7.jpeg"/><Relationship Id="rId1" Type="http://schemas.openxmlformats.org/officeDocument/2006/relationships/tags" Target="../tags/tag90.xml"/><Relationship Id="rId2" Type="http://schemas.openxmlformats.org/officeDocument/2006/relationships/tags" Target="../tags/tag9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1" Type="http://schemas.openxmlformats.org/officeDocument/2006/relationships/tags" Target="../tags/tag16.xml"/><Relationship Id="rId12" Type="http://schemas.openxmlformats.org/officeDocument/2006/relationships/tags" Target="../tags/tag17.xml"/><Relationship Id="rId13" Type="http://schemas.openxmlformats.org/officeDocument/2006/relationships/tags" Target="../tags/tag18.xml"/><Relationship Id="rId14" Type="http://schemas.openxmlformats.org/officeDocument/2006/relationships/tags" Target="../tags/tag19.xml"/><Relationship Id="rId15" Type="http://schemas.openxmlformats.org/officeDocument/2006/relationships/tags" Target="../tags/tag20.xml"/><Relationship Id="rId16" Type="http://schemas.openxmlformats.org/officeDocument/2006/relationships/slideLayout" Target="../slideLayouts/slideLayout2.xml"/><Relationship Id="rId17" Type="http://schemas.openxmlformats.org/officeDocument/2006/relationships/oleObject" Target="../embeddings/oleObject1.bin"/><Relationship Id="rId18" Type="http://schemas.openxmlformats.org/officeDocument/2006/relationships/image" Target="../media/image9.jpeg"/><Relationship Id="rId19" Type="http://schemas.openxmlformats.org/officeDocument/2006/relationships/image" Target="../media/image8.jpeg"/><Relationship Id="rId1" Type="http://schemas.openxmlformats.org/officeDocument/2006/relationships/vmlDrawing" Target="../drawings/vmlDrawing1.vml"/><Relationship Id="rId2" Type="http://schemas.openxmlformats.org/officeDocument/2006/relationships/tags" Target="../tags/tag7.xml"/><Relationship Id="rId3" Type="http://schemas.openxmlformats.org/officeDocument/2006/relationships/tags" Target="../tags/tag8.xml"/><Relationship Id="rId4" Type="http://schemas.openxmlformats.org/officeDocument/2006/relationships/tags" Target="../tags/tag9.xml"/><Relationship Id="rId5" Type="http://schemas.openxmlformats.org/officeDocument/2006/relationships/tags" Target="../tags/tag10.xml"/><Relationship Id="rId6" Type="http://schemas.openxmlformats.org/officeDocument/2006/relationships/tags" Target="../tags/tag11.xml"/><Relationship Id="rId7" Type="http://schemas.openxmlformats.org/officeDocument/2006/relationships/tags" Target="../tags/tag12.xml"/><Relationship Id="rId8" Type="http://schemas.openxmlformats.org/officeDocument/2006/relationships/tags" Target="../tags/tag13.xml"/><Relationship Id="rId9" Type="http://schemas.openxmlformats.org/officeDocument/2006/relationships/tags" Target="../tags/tag14.xml"/><Relationship Id="rId10" Type="http://schemas.openxmlformats.org/officeDocument/2006/relationships/tags" Target="../tags/tag1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4" Type="http://schemas.openxmlformats.org/officeDocument/2006/relationships/tags" Target="../tags/tag23.xml"/><Relationship Id="rId5" Type="http://schemas.openxmlformats.org/officeDocument/2006/relationships/slideLayout" Target="../slideLayouts/slideLayout6.xml"/><Relationship Id="rId6" Type="http://schemas.openxmlformats.org/officeDocument/2006/relationships/notesSlide" Target="../notesSlides/notesSlide2.xml"/><Relationship Id="rId7" Type="http://schemas.openxmlformats.org/officeDocument/2006/relationships/oleObject" Target="../embeddings/oleObject2.bin"/><Relationship Id="rId8" Type="http://schemas.openxmlformats.org/officeDocument/2006/relationships/chart" Target="../charts/chart1.xml"/><Relationship Id="rId9" Type="http://schemas.openxmlformats.org/officeDocument/2006/relationships/image" Target="../media/image8.jpeg"/><Relationship Id="rId1" Type="http://schemas.openxmlformats.org/officeDocument/2006/relationships/vmlDrawing" Target="../drawings/vmlDrawing2.vml"/><Relationship Id="rId2" Type="http://schemas.openxmlformats.org/officeDocument/2006/relationships/tags" Target="../tags/tag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4" Type="http://schemas.openxmlformats.org/officeDocument/2006/relationships/tags" Target="../tags/tag26.xml"/><Relationship Id="rId5" Type="http://schemas.openxmlformats.org/officeDocument/2006/relationships/slideLayout" Target="../slideLayouts/slideLayout6.xml"/><Relationship Id="rId6" Type="http://schemas.openxmlformats.org/officeDocument/2006/relationships/notesSlide" Target="../notesSlides/notesSlide3.xml"/><Relationship Id="rId7" Type="http://schemas.openxmlformats.org/officeDocument/2006/relationships/oleObject" Target="../embeddings/oleObject3.bin"/><Relationship Id="rId8" Type="http://schemas.openxmlformats.org/officeDocument/2006/relationships/image" Target="../media/image8.jpeg"/><Relationship Id="rId1" Type="http://schemas.openxmlformats.org/officeDocument/2006/relationships/vmlDrawing" Target="../drawings/vmlDrawing3.vml"/><Relationship Id="rId2" Type="http://schemas.openxmlformats.org/officeDocument/2006/relationships/tags" Target="../tags/tag24.xml"/></Relationships>
</file>

<file path=ppt/slides/_rels/slide6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4.bin"/><Relationship Id="rId12" Type="http://schemas.openxmlformats.org/officeDocument/2006/relationships/image" Target="../media/image8.jpeg"/><Relationship Id="rId13" Type="http://schemas.openxmlformats.org/officeDocument/2006/relationships/chart" Target="../charts/chart2.xml"/><Relationship Id="rId14" Type="http://schemas.openxmlformats.org/officeDocument/2006/relationships/chart" Target="../charts/chart3.xml"/><Relationship Id="rId15" Type="http://schemas.openxmlformats.org/officeDocument/2006/relationships/chart" Target="../charts/chart4.xml"/><Relationship Id="rId1" Type="http://schemas.openxmlformats.org/officeDocument/2006/relationships/vmlDrawing" Target="../drawings/vmlDrawing4.vml"/><Relationship Id="rId2" Type="http://schemas.openxmlformats.org/officeDocument/2006/relationships/tags" Target="../tags/tag27.xml"/><Relationship Id="rId3" Type="http://schemas.openxmlformats.org/officeDocument/2006/relationships/tags" Target="../tags/tag28.xml"/><Relationship Id="rId4" Type="http://schemas.openxmlformats.org/officeDocument/2006/relationships/tags" Target="../tags/tag29.xml"/><Relationship Id="rId5" Type="http://schemas.openxmlformats.org/officeDocument/2006/relationships/tags" Target="../tags/tag30.xml"/><Relationship Id="rId6" Type="http://schemas.openxmlformats.org/officeDocument/2006/relationships/tags" Target="../tags/tag31.xml"/><Relationship Id="rId7" Type="http://schemas.openxmlformats.org/officeDocument/2006/relationships/tags" Target="../tags/tag32.xml"/><Relationship Id="rId8" Type="http://schemas.openxmlformats.org/officeDocument/2006/relationships/tags" Target="../tags/tag33.xml"/><Relationship Id="rId9" Type="http://schemas.openxmlformats.org/officeDocument/2006/relationships/slideLayout" Target="../slideLayouts/slideLayout6.xml"/><Relationship Id="rId10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tags" Target="../tags/tag42.xml"/><Relationship Id="rId20" Type="http://schemas.openxmlformats.org/officeDocument/2006/relationships/tags" Target="../tags/tag53.xml"/><Relationship Id="rId21" Type="http://schemas.openxmlformats.org/officeDocument/2006/relationships/tags" Target="../tags/tag54.xml"/><Relationship Id="rId22" Type="http://schemas.openxmlformats.org/officeDocument/2006/relationships/tags" Target="../tags/tag55.xml"/><Relationship Id="rId23" Type="http://schemas.openxmlformats.org/officeDocument/2006/relationships/tags" Target="../tags/tag56.xml"/><Relationship Id="rId24" Type="http://schemas.openxmlformats.org/officeDocument/2006/relationships/slideLayout" Target="../slideLayouts/slideLayout6.xml"/><Relationship Id="rId25" Type="http://schemas.openxmlformats.org/officeDocument/2006/relationships/notesSlide" Target="../notesSlides/notesSlide5.xml"/><Relationship Id="rId26" Type="http://schemas.openxmlformats.org/officeDocument/2006/relationships/image" Target="../media/image8.jpeg"/><Relationship Id="rId10" Type="http://schemas.openxmlformats.org/officeDocument/2006/relationships/tags" Target="../tags/tag43.xml"/><Relationship Id="rId11" Type="http://schemas.openxmlformats.org/officeDocument/2006/relationships/tags" Target="../tags/tag44.xml"/><Relationship Id="rId12" Type="http://schemas.openxmlformats.org/officeDocument/2006/relationships/tags" Target="../tags/tag45.xml"/><Relationship Id="rId13" Type="http://schemas.openxmlformats.org/officeDocument/2006/relationships/tags" Target="../tags/tag46.xml"/><Relationship Id="rId14" Type="http://schemas.openxmlformats.org/officeDocument/2006/relationships/tags" Target="../tags/tag47.xml"/><Relationship Id="rId15" Type="http://schemas.openxmlformats.org/officeDocument/2006/relationships/tags" Target="../tags/tag48.xml"/><Relationship Id="rId16" Type="http://schemas.openxmlformats.org/officeDocument/2006/relationships/tags" Target="../tags/tag49.xml"/><Relationship Id="rId17" Type="http://schemas.openxmlformats.org/officeDocument/2006/relationships/tags" Target="../tags/tag50.xml"/><Relationship Id="rId18" Type="http://schemas.openxmlformats.org/officeDocument/2006/relationships/tags" Target="../tags/tag51.xml"/><Relationship Id="rId19" Type="http://schemas.openxmlformats.org/officeDocument/2006/relationships/tags" Target="../tags/tag52.xml"/><Relationship Id="rId1" Type="http://schemas.openxmlformats.org/officeDocument/2006/relationships/tags" Target="../tags/tag34.xml"/><Relationship Id="rId2" Type="http://schemas.openxmlformats.org/officeDocument/2006/relationships/tags" Target="../tags/tag35.xml"/><Relationship Id="rId3" Type="http://schemas.openxmlformats.org/officeDocument/2006/relationships/tags" Target="../tags/tag36.xml"/><Relationship Id="rId4" Type="http://schemas.openxmlformats.org/officeDocument/2006/relationships/tags" Target="../tags/tag37.xml"/><Relationship Id="rId5" Type="http://schemas.openxmlformats.org/officeDocument/2006/relationships/tags" Target="../tags/tag38.xml"/><Relationship Id="rId6" Type="http://schemas.openxmlformats.org/officeDocument/2006/relationships/tags" Target="../tags/tag39.xml"/><Relationship Id="rId7" Type="http://schemas.openxmlformats.org/officeDocument/2006/relationships/tags" Target="../tags/tag40.xml"/><Relationship Id="rId8" Type="http://schemas.openxmlformats.org/officeDocument/2006/relationships/tags" Target="../tags/tag4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4" Type="http://schemas.openxmlformats.org/officeDocument/2006/relationships/image" Target="../media/image8.jpe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4" Type="http://schemas.openxmlformats.org/officeDocument/2006/relationships/notesSlide" Target="../notesSlides/notesSlide7.xml"/><Relationship Id="rId5" Type="http://schemas.openxmlformats.org/officeDocument/2006/relationships/image" Target="../media/image8.jpeg"/><Relationship Id="rId1" Type="http://schemas.openxmlformats.org/officeDocument/2006/relationships/tags" Target="../tags/tag57.xml"/><Relationship Id="rId2" Type="http://schemas.openxmlformats.org/officeDocument/2006/relationships/tags" Target="../tags/tag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>
          <a:xfrm>
            <a:off x="3706813" y="1828800"/>
            <a:ext cx="5132387" cy="914400"/>
          </a:xfrm>
        </p:spPr>
        <p:txBody>
          <a:bodyPr>
            <a:noAutofit/>
          </a:bodyPr>
          <a:lstStyle/>
          <a:p>
            <a:pPr algn="l" defTabSz="895350" fontAlgn="base">
              <a:spcAft>
                <a:spcPct val="0"/>
              </a:spcAft>
            </a:pPr>
            <a:r>
              <a:rPr lang="en-US" sz="3200" b="1" dirty="0" smtClean="0">
                <a:solidFill>
                  <a:schemeClr val="tx2"/>
                </a:solidFill>
              </a:rPr>
              <a:t>Blackberry Limited (TSX:BB)</a:t>
            </a:r>
            <a:endParaRPr lang="en-US" sz="3200" b="1" dirty="0">
              <a:solidFill>
                <a:schemeClr val="tx2"/>
              </a:solidFill>
            </a:endParaRPr>
          </a:p>
        </p:txBody>
      </p:sp>
      <p:sp>
        <p:nvSpPr>
          <p:cNvPr id="8" name="McK Date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810000" y="2590800"/>
            <a:ext cx="4935537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r>
              <a:rPr lang="en-US" sz="1400" dirty="0" smtClean="0"/>
              <a:t>October 23</a:t>
            </a:r>
            <a:r>
              <a:rPr lang="en-US" sz="1400" baseline="30000" dirty="0" smtClean="0"/>
              <a:t>rd</a:t>
            </a:r>
            <a:r>
              <a:rPr lang="en-US" sz="1400" dirty="0" smtClean="0"/>
              <a:t> 2013</a:t>
            </a:r>
            <a:endParaRPr lang="en-US" sz="1400" dirty="0"/>
          </a:p>
        </p:txBody>
      </p:sp>
      <p:sp>
        <p:nvSpPr>
          <p:cNvPr id="9" name="McK Dat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827463" y="1752600"/>
            <a:ext cx="4935537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r>
              <a:rPr lang="en-US" sz="1400" b="1" dirty="0" smtClean="0">
                <a:solidFill>
                  <a:schemeClr val="bg1">
                    <a:lumMod val="50000"/>
                  </a:schemeClr>
                </a:solidFill>
              </a:rPr>
              <a:t>Managing Turnaround Companies</a:t>
            </a:r>
            <a:endParaRPr lang="en-US" sz="1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4" name="Picture 13" descr="BB logo 4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793557" y="3048000"/>
            <a:ext cx="2073843" cy="457200"/>
          </a:xfrm>
          <a:prstGeom prst="rect">
            <a:avLst/>
          </a:prstGeom>
        </p:spPr>
      </p:pic>
      <p:sp>
        <p:nvSpPr>
          <p:cNvPr id="11" name="McK Disclaimer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821113" y="5642774"/>
            <a:ext cx="440848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1400" dirty="0" smtClean="0"/>
              <a:t>Team: </a:t>
            </a:r>
            <a:r>
              <a:rPr lang="en-US" sz="1400" dirty="0" err="1" smtClean="0"/>
              <a:t>Shashank</a:t>
            </a:r>
            <a:r>
              <a:rPr lang="en-US" sz="1400" dirty="0" smtClean="0"/>
              <a:t> </a:t>
            </a:r>
            <a:r>
              <a:rPr lang="en-US" sz="1400" dirty="0" err="1" smtClean="0"/>
              <a:t>Ramineni</a:t>
            </a:r>
            <a:r>
              <a:rPr lang="en-US" sz="1400" dirty="0" smtClean="0"/>
              <a:t>, </a:t>
            </a:r>
            <a:r>
              <a:rPr lang="en-US" sz="1400" dirty="0" err="1" smtClean="0"/>
              <a:t>Chethan</a:t>
            </a:r>
            <a:r>
              <a:rPr lang="en-US" sz="1400" dirty="0" smtClean="0"/>
              <a:t> </a:t>
            </a:r>
            <a:r>
              <a:rPr lang="en-US" sz="1400" dirty="0" err="1" smtClean="0"/>
              <a:t>Mittapalli</a:t>
            </a:r>
            <a:r>
              <a:rPr lang="en-US" sz="1400" dirty="0" smtClean="0"/>
              <a:t>, Amit Bhatia</a:t>
            </a:r>
          </a:p>
          <a:p>
            <a:pPr defTabSz="804863" eaLnBrk="0" hangingPunct="0"/>
            <a:r>
              <a:rPr lang="en-US" sz="1400" dirty="0" smtClean="0"/>
              <a:t>Babson College, Two-year MBA Class of 2014 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304800" y="462058"/>
            <a:ext cx="3445933" cy="5733942"/>
            <a:chOff x="304800" y="462058"/>
            <a:chExt cx="3445933" cy="5733942"/>
          </a:xfrm>
        </p:grpSpPr>
        <p:pic>
          <p:nvPicPr>
            <p:cNvPr id="15" name="Picture 14" descr="BB ad 1.jpg"/>
            <p:cNvPicPr>
              <a:picLocks noChangeAspect="1"/>
            </p:cNvPicPr>
            <p:nvPr/>
          </p:nvPicPr>
          <p:blipFill>
            <a:blip r:embed="rId7" cstate="print">
              <a:grayscl/>
            </a:blip>
            <a:srcRect l="30056"/>
            <a:stretch>
              <a:fillRect/>
            </a:stretch>
          </p:blipFill>
          <p:spPr>
            <a:xfrm>
              <a:off x="381000" y="2590800"/>
              <a:ext cx="1418614" cy="1447800"/>
            </a:xfrm>
            <a:prstGeom prst="rect">
              <a:avLst/>
            </a:prstGeom>
            <a:ln w="76200">
              <a:solidFill>
                <a:schemeClr val="bg1"/>
              </a:solidFill>
            </a:ln>
          </p:spPr>
        </p:pic>
        <p:pic>
          <p:nvPicPr>
            <p:cNvPr id="18" name="Picture 17" descr="la-fi-tn-rim-blackberry-rename-20130130-001.jpg"/>
            <p:cNvPicPr>
              <a:picLocks noChangeAspect="1"/>
            </p:cNvPicPr>
            <p:nvPr/>
          </p:nvPicPr>
          <p:blipFill>
            <a:blip r:embed="rId8">
              <a:grayscl/>
            </a:blip>
            <a:stretch>
              <a:fillRect/>
            </a:stretch>
          </p:blipFill>
          <p:spPr>
            <a:xfrm>
              <a:off x="1707478" y="4876800"/>
              <a:ext cx="1978800" cy="1319200"/>
            </a:xfrm>
            <a:prstGeom prst="rect">
              <a:avLst/>
            </a:prstGeom>
            <a:ln w="76200">
              <a:solidFill>
                <a:schemeClr val="bg1"/>
              </a:solidFill>
            </a:ln>
          </p:spPr>
        </p:pic>
        <p:pic>
          <p:nvPicPr>
            <p:cNvPr id="16" name="Picture 15" descr="BB enterprise.jpg"/>
            <p:cNvPicPr>
              <a:picLocks noChangeAspect="1"/>
            </p:cNvPicPr>
            <p:nvPr/>
          </p:nvPicPr>
          <p:blipFill>
            <a:blip r:embed="rId9">
              <a:grayscl/>
            </a:blip>
            <a:srcRect r="39512"/>
            <a:stretch>
              <a:fillRect/>
            </a:stretch>
          </p:blipFill>
          <p:spPr>
            <a:xfrm>
              <a:off x="2057400" y="3048000"/>
              <a:ext cx="1693333" cy="1828800"/>
            </a:xfrm>
            <a:prstGeom prst="rect">
              <a:avLst/>
            </a:prstGeom>
            <a:ln w="76200">
              <a:solidFill>
                <a:schemeClr val="bg1"/>
              </a:solidFill>
            </a:ln>
          </p:spPr>
        </p:pic>
        <p:pic>
          <p:nvPicPr>
            <p:cNvPr id="17" name="Picture 16" descr="blackberry_train.jpg"/>
            <p:cNvPicPr>
              <a:picLocks noChangeAspect="1"/>
            </p:cNvPicPr>
            <p:nvPr/>
          </p:nvPicPr>
          <p:blipFill>
            <a:blip r:embed="rId10">
              <a:grayscl/>
            </a:blip>
            <a:stretch>
              <a:fillRect/>
            </a:stretch>
          </p:blipFill>
          <p:spPr>
            <a:xfrm>
              <a:off x="304800" y="4152900"/>
              <a:ext cx="2019300" cy="2019300"/>
            </a:xfrm>
            <a:prstGeom prst="rect">
              <a:avLst/>
            </a:prstGeom>
            <a:ln w="76200">
              <a:solidFill>
                <a:schemeClr val="bg1"/>
              </a:solidFill>
            </a:ln>
          </p:spPr>
        </p:pic>
        <p:pic>
          <p:nvPicPr>
            <p:cNvPr id="20" name="Picture 19" descr="Blackberry_10_launch_apps_Volt.png"/>
            <p:cNvPicPr>
              <a:picLocks noChangeAspect="1"/>
            </p:cNvPicPr>
            <p:nvPr/>
          </p:nvPicPr>
          <p:blipFill>
            <a:blip r:embed="rId11">
              <a:grayscl/>
            </a:blip>
            <a:stretch>
              <a:fillRect/>
            </a:stretch>
          </p:blipFill>
          <p:spPr>
            <a:xfrm>
              <a:off x="381000" y="500158"/>
              <a:ext cx="3352800" cy="1862042"/>
            </a:xfrm>
            <a:prstGeom prst="rect">
              <a:avLst/>
            </a:prstGeom>
            <a:ln w="76200">
              <a:solidFill>
                <a:schemeClr val="bg1"/>
              </a:solidFill>
            </a:ln>
          </p:spPr>
        </p:pic>
        <p:pic>
          <p:nvPicPr>
            <p:cNvPr id="21" name="Picture 20" descr="BB ad 1.jpg"/>
            <p:cNvPicPr>
              <a:picLocks noChangeAspect="1"/>
            </p:cNvPicPr>
            <p:nvPr/>
          </p:nvPicPr>
          <p:blipFill>
            <a:blip r:embed="rId7" cstate="print">
              <a:grayscl/>
            </a:blip>
            <a:srcRect l="30056"/>
            <a:stretch>
              <a:fillRect/>
            </a:stretch>
          </p:blipFill>
          <p:spPr>
            <a:xfrm>
              <a:off x="304800" y="2552700"/>
              <a:ext cx="1418614" cy="1447800"/>
            </a:xfrm>
            <a:prstGeom prst="rect">
              <a:avLst/>
            </a:prstGeom>
            <a:ln w="76200">
              <a:solidFill>
                <a:schemeClr val="bg1"/>
              </a:solidFill>
            </a:ln>
          </p:spPr>
        </p:pic>
        <p:pic>
          <p:nvPicPr>
            <p:cNvPr id="22" name="Picture 21" descr="blackberry_train.jpg"/>
            <p:cNvPicPr>
              <a:picLocks noChangeAspect="1"/>
            </p:cNvPicPr>
            <p:nvPr/>
          </p:nvPicPr>
          <p:blipFill>
            <a:blip r:embed="rId10">
              <a:grayscl/>
            </a:blip>
            <a:stretch>
              <a:fillRect/>
            </a:stretch>
          </p:blipFill>
          <p:spPr>
            <a:xfrm>
              <a:off x="304800" y="4176700"/>
              <a:ext cx="2019300" cy="2019300"/>
            </a:xfrm>
            <a:prstGeom prst="rect">
              <a:avLst/>
            </a:prstGeom>
            <a:ln w="76200">
              <a:solidFill>
                <a:schemeClr val="bg1"/>
              </a:solidFill>
            </a:ln>
          </p:spPr>
        </p:pic>
        <p:pic>
          <p:nvPicPr>
            <p:cNvPr id="23" name="Picture 22" descr="Blackberry_10_launch_apps_Volt.png"/>
            <p:cNvPicPr>
              <a:picLocks noChangeAspect="1"/>
            </p:cNvPicPr>
            <p:nvPr/>
          </p:nvPicPr>
          <p:blipFill>
            <a:blip r:embed="rId11">
              <a:grayscl/>
            </a:blip>
            <a:stretch>
              <a:fillRect/>
            </a:stretch>
          </p:blipFill>
          <p:spPr>
            <a:xfrm>
              <a:off x="304800" y="462058"/>
              <a:ext cx="3352800" cy="1862042"/>
            </a:xfrm>
            <a:prstGeom prst="rect">
              <a:avLst/>
            </a:prstGeom>
            <a:ln w="76200">
              <a:solidFill>
                <a:schemeClr val="bg1"/>
              </a:solidFill>
            </a:ln>
          </p:spPr>
        </p:pic>
        <p:pic>
          <p:nvPicPr>
            <p:cNvPr id="19" name="Picture 18" descr="14bits-blackberry-heins-hpMedium.jpg"/>
            <p:cNvPicPr>
              <a:picLocks noChangeAspect="1"/>
            </p:cNvPicPr>
            <p:nvPr/>
          </p:nvPicPr>
          <p:blipFill>
            <a:blip r:embed="rId12">
              <a:grayscl/>
            </a:blip>
            <a:stretch>
              <a:fillRect/>
            </a:stretch>
          </p:blipFill>
          <p:spPr>
            <a:xfrm>
              <a:off x="1828800" y="1905000"/>
              <a:ext cx="1857478" cy="1394487"/>
            </a:xfrm>
            <a:prstGeom prst="rect">
              <a:avLst/>
            </a:prstGeom>
            <a:ln w="76200">
              <a:solidFill>
                <a:schemeClr val="bg1"/>
              </a:solidFill>
            </a:ln>
          </p:spPr>
        </p:pic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17392" name="Rectangle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0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EDCA8AD-8682-4585-8635-08C7AA2F5169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1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52400" y="31750"/>
            <a:ext cx="8636009" cy="577850"/>
          </a:xfrm>
        </p:spPr>
        <p:txBody>
          <a:bodyPr>
            <a:noAutofit/>
          </a:bodyPr>
          <a:lstStyle/>
          <a:p>
            <a:pPr lvl="0" algn="l">
              <a:defRPr/>
            </a:pPr>
            <a:r>
              <a:rPr lang="en-US" sz="2400" b="1" kern="0" dirty="0">
                <a:solidFill>
                  <a:schemeClr val="tx2"/>
                </a:solidFill>
              </a:rPr>
              <a:t>Burning Fingers….</a:t>
            </a:r>
            <a:endParaRPr lang="en-US" sz="2400" b="1" dirty="0">
              <a:solidFill>
                <a:schemeClr val="tx2"/>
              </a:solidFill>
            </a:endParaRPr>
          </a:p>
        </p:txBody>
      </p:sp>
      <p:sp>
        <p:nvSpPr>
          <p:cNvPr id="12" name="3 Rectángulo"/>
          <p:cNvSpPr/>
          <p:nvPr/>
        </p:nvSpPr>
        <p:spPr>
          <a:xfrm>
            <a:off x="228600" y="650363"/>
            <a:ext cx="8496300" cy="35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GT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777821715"/>
              </p:ext>
            </p:extLst>
          </p:nvPr>
        </p:nvGraphicFramePr>
        <p:xfrm>
          <a:off x="2514600" y="1066800"/>
          <a:ext cx="6096000" cy="3505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8" name="Rectangle 17"/>
          <p:cNvSpPr>
            <a:spLocks noChangeArrowheads="1"/>
          </p:cNvSpPr>
          <p:nvPr/>
        </p:nvSpPr>
        <p:spPr bwMode="auto">
          <a:xfrm>
            <a:off x="139307" y="1104774"/>
            <a:ext cx="1631180" cy="5199381"/>
          </a:xfrm>
          <a:prstGeom prst="rect">
            <a:avLst/>
          </a:prstGeom>
          <a:solidFill>
            <a:srgbClr val="4F81B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19" name="Rectangle 23"/>
          <p:cNvSpPr>
            <a:spLocks noChangeArrowheads="1"/>
          </p:cNvSpPr>
          <p:nvPr/>
        </p:nvSpPr>
        <p:spPr bwMode="auto">
          <a:xfrm>
            <a:off x="315869" y="1295903"/>
            <a:ext cx="1697593" cy="49619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93296" tIns="93296" rIns="93296" bIns="93296">
            <a:spAutoFit/>
          </a:bodyPr>
          <a:lstStyle/>
          <a:p>
            <a:pPr defTabSz="913526">
              <a:buSzPct val="120000"/>
            </a:pPr>
            <a:r>
              <a:rPr lang="en-GB" sz="2000" b="1" dirty="0" smtClean="0"/>
              <a:t>Cash</a:t>
            </a:r>
            <a:endParaRPr lang="en-GB" sz="2000" b="1" dirty="0"/>
          </a:p>
        </p:txBody>
      </p:sp>
      <p:sp>
        <p:nvSpPr>
          <p:cNvPr id="20" name="Rectangle 24"/>
          <p:cNvSpPr>
            <a:spLocks noChangeArrowheads="1"/>
          </p:cNvSpPr>
          <p:nvPr/>
        </p:nvSpPr>
        <p:spPr bwMode="auto">
          <a:xfrm>
            <a:off x="304800" y="3200400"/>
            <a:ext cx="1697593" cy="496191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93296" tIns="93296" rIns="93296" bIns="93296">
            <a:spAutoFit/>
          </a:bodyPr>
          <a:lstStyle/>
          <a:p>
            <a:pPr defTabSz="913526">
              <a:buSzPct val="120000"/>
            </a:pPr>
            <a:r>
              <a:rPr lang="en-GB" sz="1600" b="1" dirty="0" smtClean="0"/>
              <a:t> </a:t>
            </a:r>
            <a:r>
              <a:rPr lang="en-GB" sz="2000" b="1" dirty="0" smtClean="0"/>
              <a:t>Burn Rate </a:t>
            </a:r>
            <a:endParaRPr lang="en-GB" sz="2000" b="1" dirty="0"/>
          </a:p>
        </p:txBody>
      </p:sp>
      <p:sp>
        <p:nvSpPr>
          <p:cNvPr id="21" name="Rectangle 25"/>
          <p:cNvSpPr>
            <a:spLocks noChangeArrowheads="1"/>
          </p:cNvSpPr>
          <p:nvPr/>
        </p:nvSpPr>
        <p:spPr bwMode="auto">
          <a:xfrm>
            <a:off x="304800" y="4914009"/>
            <a:ext cx="1697593" cy="496191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93296" tIns="93296" rIns="93296" bIns="93296">
            <a:spAutoFit/>
          </a:bodyPr>
          <a:lstStyle/>
          <a:p>
            <a:pPr defTabSz="913526">
              <a:buSzPct val="120000"/>
            </a:pPr>
            <a:r>
              <a:rPr lang="en-GB" sz="2000" b="1" dirty="0" smtClean="0"/>
              <a:t>Time Left</a:t>
            </a:r>
            <a:endParaRPr lang="en-GB" sz="20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2362200" y="3200400"/>
            <a:ext cx="5257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Net Loss ($942M)</a:t>
            </a:r>
          </a:p>
          <a:p>
            <a:r>
              <a:rPr lang="en-US" sz="2800" dirty="0" smtClean="0"/>
              <a:t>$300 Mn Cash burnt in 5 month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191000" y="4876800"/>
            <a:ext cx="4114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18 Months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438400" y="4219575"/>
            <a:ext cx="1295400" cy="2105025"/>
          </a:xfrm>
          <a:prstGeom prst="rect">
            <a:avLst/>
          </a:prstGeom>
        </p:spPr>
      </p:pic>
      <p:pic>
        <p:nvPicPr>
          <p:cNvPr id="22" name="Picture 21" descr="BB logo 4.jpg"/>
          <p:cNvPicPr>
            <a:picLocks noChangeAspect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43800" y="228600"/>
            <a:ext cx="1371600" cy="302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96285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17392" name="Rectangle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33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EDCA8AD-8682-4585-8635-08C7AA2F5169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1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28600" y="31750"/>
            <a:ext cx="8636009" cy="577850"/>
          </a:xfrm>
        </p:spPr>
        <p:txBody>
          <a:bodyPr>
            <a:noAutofit/>
          </a:bodyPr>
          <a:lstStyle/>
          <a:p>
            <a:pPr lvl="0" algn="l">
              <a:defRPr/>
            </a:pPr>
            <a:r>
              <a:rPr lang="en-US" sz="2400" b="1" kern="0" dirty="0" smtClean="0">
                <a:solidFill>
                  <a:schemeClr val="tx2"/>
                </a:solidFill>
              </a:rPr>
              <a:t>What exactly are Blackberry Options??</a:t>
            </a:r>
            <a:endParaRPr lang="en-US" sz="2400" b="1" dirty="0">
              <a:solidFill>
                <a:schemeClr val="tx2"/>
              </a:solidFill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500118297"/>
              </p:ext>
            </p:extLst>
          </p:nvPr>
        </p:nvGraphicFramePr>
        <p:xfrm>
          <a:off x="838200" y="914400"/>
          <a:ext cx="7467600" cy="525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2" name="3 Rectángulo"/>
          <p:cNvSpPr/>
          <p:nvPr/>
        </p:nvSpPr>
        <p:spPr>
          <a:xfrm>
            <a:off x="323850" y="650363"/>
            <a:ext cx="8496300" cy="35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GT"/>
          </a:p>
        </p:txBody>
      </p:sp>
      <p:pic>
        <p:nvPicPr>
          <p:cNvPr id="10" name="Picture 9" descr="BB logo 4.jpg"/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43800" y="228600"/>
            <a:ext cx="1371600" cy="302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07994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17392" name="Rectangle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5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EDCA8AD-8682-4585-8635-08C7AA2F5169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1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22271" y="207944"/>
            <a:ext cx="8636009" cy="577850"/>
          </a:xfrm>
        </p:spPr>
        <p:txBody>
          <a:bodyPr>
            <a:noAutofit/>
          </a:bodyPr>
          <a:lstStyle/>
          <a:p>
            <a:pPr lvl="0" algn="l">
              <a:defRPr/>
            </a:pPr>
            <a:r>
              <a:rPr lang="en-US" sz="2400" b="1" kern="0" dirty="0" smtClean="0">
                <a:solidFill>
                  <a:schemeClr val="tx2"/>
                </a:solidFill>
              </a:rPr>
              <a:t> </a:t>
            </a:r>
            <a:endParaRPr lang="en-US" sz="2400" b="1" dirty="0">
              <a:solidFill>
                <a:schemeClr val="tx2"/>
              </a:solidFill>
            </a:endParaRPr>
          </a:p>
        </p:txBody>
      </p:sp>
      <p:sp>
        <p:nvSpPr>
          <p:cNvPr id="8" name="3 Rectángulo"/>
          <p:cNvSpPr/>
          <p:nvPr/>
        </p:nvSpPr>
        <p:spPr>
          <a:xfrm>
            <a:off x="323850" y="650363"/>
            <a:ext cx="8496300" cy="35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GT"/>
          </a:p>
        </p:txBody>
      </p:sp>
      <p:sp>
        <p:nvSpPr>
          <p:cNvPr id="2" name="TextBox 1"/>
          <p:cNvSpPr txBox="1"/>
          <p:nvPr/>
        </p:nvSpPr>
        <p:spPr>
          <a:xfrm>
            <a:off x="234044" y="147935"/>
            <a:ext cx="688008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chemeClr val="tx2"/>
                </a:solidFill>
              </a:rPr>
              <a:t>Liquidation : end of the Road OR do we have time…?</a:t>
            </a:r>
            <a:endParaRPr lang="en-US" sz="2400" b="1" dirty="0">
              <a:solidFill>
                <a:schemeClr val="tx2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14400" y="1600200"/>
            <a:ext cx="67818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2000" dirty="0"/>
              <a:t>Investors : Putting pressure on Management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/>
              <a:t>Devices :  Hardware failure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/>
              <a:t>Ecosystem : </a:t>
            </a:r>
            <a:r>
              <a:rPr lang="en-US" sz="2000" dirty="0" smtClean="0"/>
              <a:t>Failure to develop app market</a:t>
            </a:r>
            <a:endParaRPr lang="en-US" sz="2000" dirty="0"/>
          </a:p>
          <a:p>
            <a:pPr marL="285750" indent="-285750">
              <a:buFont typeface="Arial"/>
              <a:buChar char="•"/>
            </a:pPr>
            <a:r>
              <a:rPr lang="en-US" sz="2000" dirty="0"/>
              <a:t>Software : Failing due to decline in Hardware sales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/>
              <a:t>Falling Market Share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/>
              <a:t>Negative sentiment among investors and </a:t>
            </a:r>
            <a:r>
              <a:rPr lang="en-US" sz="2000" dirty="0" smtClean="0"/>
              <a:t>customers</a:t>
            </a:r>
            <a:endParaRPr lang="en-US" sz="2000" dirty="0"/>
          </a:p>
        </p:txBody>
      </p:sp>
      <p:sp>
        <p:nvSpPr>
          <p:cNvPr id="4" name="TextBox 3"/>
          <p:cNvSpPr txBox="1"/>
          <p:nvPr/>
        </p:nvSpPr>
        <p:spPr>
          <a:xfrm>
            <a:off x="533400" y="1143000"/>
            <a:ext cx="4356331" cy="46166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400" dirty="0" smtClean="0"/>
              <a:t>Company can opt for Liquidation:</a:t>
            </a:r>
            <a:endParaRPr lang="en-US" sz="2400" dirty="0"/>
          </a:p>
        </p:txBody>
      </p:sp>
      <p:sp>
        <p:nvSpPr>
          <p:cNvPr id="12" name="TextBox 11"/>
          <p:cNvSpPr txBox="1"/>
          <p:nvPr/>
        </p:nvSpPr>
        <p:spPr>
          <a:xfrm>
            <a:off x="533400" y="3657600"/>
            <a:ext cx="980106" cy="46166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400" dirty="0" smtClean="0"/>
              <a:t>Assets</a:t>
            </a:r>
            <a:endParaRPr lang="en-US" sz="2400" dirty="0"/>
          </a:p>
        </p:txBody>
      </p:sp>
      <p:sp>
        <p:nvSpPr>
          <p:cNvPr id="5" name="TextBox 4"/>
          <p:cNvSpPr txBox="1"/>
          <p:nvPr/>
        </p:nvSpPr>
        <p:spPr>
          <a:xfrm>
            <a:off x="914400" y="4267200"/>
            <a:ext cx="5622052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2000" dirty="0" smtClean="0"/>
              <a:t>Healthy Patent and Intellectual Property Portfolio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 smtClean="0"/>
              <a:t>Security Network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 smtClean="0"/>
              <a:t>Enterprise Software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 smtClean="0"/>
              <a:t>Cash : $2.6 </a:t>
            </a:r>
            <a:r>
              <a:rPr lang="en-US" sz="2000" dirty="0" err="1" smtClean="0"/>
              <a:t>Bn</a:t>
            </a:r>
            <a:endParaRPr lang="en-US" sz="2000" dirty="0" smtClean="0"/>
          </a:p>
          <a:p>
            <a:pPr marL="285750" indent="-285750">
              <a:buFont typeface="Arial"/>
              <a:buChar char="•"/>
            </a:pPr>
            <a:r>
              <a:rPr lang="en-US" sz="2000" dirty="0" smtClean="0"/>
              <a:t>Subscriber Base</a:t>
            </a:r>
            <a:endParaRPr lang="en-US" sz="20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05600" y="4800600"/>
            <a:ext cx="2209800" cy="1661442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6858000" y="4114800"/>
            <a:ext cx="1905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Assets Worth$ 5.7 Billion</a:t>
            </a:r>
            <a:endParaRPr lang="en-US" sz="2400" b="1" dirty="0"/>
          </a:p>
        </p:txBody>
      </p:sp>
      <p:pic>
        <p:nvPicPr>
          <p:cNvPr id="16" name="Picture 15" descr="BB logo 4.jpg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43800" y="228600"/>
            <a:ext cx="1371600" cy="302383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ight Arrow 17"/>
          <p:cNvSpPr/>
          <p:nvPr/>
        </p:nvSpPr>
        <p:spPr>
          <a:xfrm>
            <a:off x="8458200" y="1066800"/>
            <a:ext cx="685800" cy="7620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917392" name="Rectangle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8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EDCA8AD-8682-4585-8635-08C7AA2F5169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1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22271" y="207944"/>
            <a:ext cx="8636009" cy="577850"/>
          </a:xfrm>
        </p:spPr>
        <p:txBody>
          <a:bodyPr>
            <a:noAutofit/>
          </a:bodyPr>
          <a:lstStyle/>
          <a:p>
            <a:pPr lvl="0" algn="l">
              <a:defRPr/>
            </a:pPr>
            <a:r>
              <a:rPr lang="en-US" sz="2400" b="1" kern="0" dirty="0" smtClean="0">
                <a:solidFill>
                  <a:schemeClr val="tx2"/>
                </a:solidFill>
              </a:rPr>
              <a:t> </a:t>
            </a:r>
            <a:endParaRPr lang="en-US" sz="2400" b="1" dirty="0">
              <a:solidFill>
                <a:schemeClr val="tx2"/>
              </a:solidFill>
            </a:endParaRPr>
          </a:p>
        </p:txBody>
      </p:sp>
      <p:sp>
        <p:nvSpPr>
          <p:cNvPr id="8" name="3 Rectángulo"/>
          <p:cNvSpPr/>
          <p:nvPr/>
        </p:nvSpPr>
        <p:spPr>
          <a:xfrm>
            <a:off x="323850" y="650363"/>
            <a:ext cx="8496300" cy="35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GT"/>
          </a:p>
        </p:txBody>
      </p:sp>
      <p:sp>
        <p:nvSpPr>
          <p:cNvPr id="2" name="TextBox 1"/>
          <p:cNvSpPr txBox="1"/>
          <p:nvPr/>
        </p:nvSpPr>
        <p:spPr>
          <a:xfrm>
            <a:off x="228600" y="147935"/>
            <a:ext cx="59789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chemeClr val="tx2"/>
                </a:solidFill>
              </a:rPr>
              <a:t>Cost Cutting : Last option before giving up…...</a:t>
            </a:r>
            <a:endParaRPr lang="en-US" sz="2400" b="1" dirty="0">
              <a:solidFill>
                <a:schemeClr val="tx2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533400" y="2363450"/>
            <a:ext cx="7696200" cy="4113550"/>
            <a:chOff x="533400" y="2438400"/>
            <a:chExt cx="7696200" cy="4113550"/>
          </a:xfrm>
        </p:grpSpPr>
        <p:sp>
          <p:nvSpPr>
            <p:cNvPr id="3" name="TextBox 2"/>
            <p:cNvSpPr txBox="1"/>
            <p:nvPr/>
          </p:nvSpPr>
          <p:spPr>
            <a:xfrm>
              <a:off x="914400" y="2895600"/>
              <a:ext cx="7315200" cy="19287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120000"/>
                </a:lnSpc>
                <a:buFont typeface="Arial"/>
                <a:buChar char="•"/>
              </a:pPr>
              <a:r>
                <a:rPr lang="en-US" sz="2000" dirty="0" smtClean="0"/>
                <a:t>CORE Program Implementation</a:t>
              </a:r>
            </a:p>
            <a:p>
              <a:pPr marL="285750" indent="-285750">
                <a:lnSpc>
                  <a:spcPct val="120000"/>
                </a:lnSpc>
                <a:buFont typeface="Arial"/>
                <a:buChar char="•"/>
              </a:pPr>
              <a:r>
                <a:rPr lang="en-US" sz="2000" dirty="0" smtClean="0"/>
                <a:t>Layover of Employees.</a:t>
              </a:r>
            </a:p>
            <a:p>
              <a:pPr marL="285750" indent="-285750">
                <a:lnSpc>
                  <a:spcPct val="120000"/>
                </a:lnSpc>
                <a:buFont typeface="Arial"/>
                <a:buChar char="•"/>
              </a:pPr>
              <a:r>
                <a:rPr lang="en-US" sz="2000" dirty="0" smtClean="0"/>
                <a:t>Reducing number of phone models</a:t>
              </a:r>
            </a:p>
            <a:p>
              <a:pPr marL="285750" indent="-285750">
                <a:lnSpc>
                  <a:spcPct val="120000"/>
                </a:lnSpc>
                <a:buFont typeface="Arial"/>
                <a:buChar char="•"/>
              </a:pPr>
              <a:endParaRPr lang="en-US" sz="2000" dirty="0" smtClean="0"/>
            </a:p>
            <a:p>
              <a:pPr marL="285750" indent="-285750">
                <a:buFont typeface="Arial"/>
                <a:buChar char="•"/>
              </a:pPr>
              <a:endParaRPr lang="en-US" sz="2000" dirty="0"/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533400" y="2438400"/>
              <a:ext cx="2341957" cy="461665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2400" dirty="0" smtClean="0"/>
                <a:t>Methods in Place</a:t>
              </a:r>
              <a:endParaRPr lang="en-US" sz="2400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533400" y="4419600"/>
              <a:ext cx="2240517" cy="461665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2400" dirty="0" smtClean="0"/>
                <a:t>Results So far…..</a:t>
              </a:r>
              <a:endParaRPr lang="en-US" sz="2400" dirty="0"/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914400" y="5105400"/>
              <a:ext cx="3711272" cy="14465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lnSpc>
                  <a:spcPct val="120000"/>
                </a:lnSpc>
                <a:buFont typeface="Arial"/>
                <a:buChar char="•"/>
              </a:pPr>
              <a:r>
                <a:rPr lang="en-US" sz="2000" dirty="0" smtClean="0"/>
                <a:t>May be delaying the inevitable.</a:t>
              </a:r>
            </a:p>
            <a:p>
              <a:pPr marL="285750" indent="-285750">
                <a:lnSpc>
                  <a:spcPct val="120000"/>
                </a:lnSpc>
                <a:buFont typeface="Arial"/>
                <a:buChar char="•"/>
              </a:pPr>
              <a:r>
                <a:rPr lang="en-US" sz="2000" dirty="0" smtClean="0"/>
                <a:t>Buying out more time.</a:t>
              </a:r>
            </a:p>
            <a:p>
              <a:pPr marL="285750" indent="-285750">
                <a:buFont typeface="Arial"/>
                <a:buChar char="•"/>
              </a:pPr>
              <a:endParaRPr lang="en-US" sz="2000" dirty="0" smtClean="0"/>
            </a:p>
            <a:p>
              <a:pPr marL="285750" indent="-285750">
                <a:buFont typeface="Arial"/>
                <a:buChar char="•"/>
              </a:pPr>
              <a:endParaRPr lang="en-US" sz="2000" dirty="0"/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2209800" y="1066800"/>
            <a:ext cx="1981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/>
              <a:t>Bleeding</a:t>
            </a:r>
            <a:endParaRPr lang="en-US" sz="36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8200" y="838200"/>
            <a:ext cx="1066800" cy="1066800"/>
          </a:xfrm>
          <a:prstGeom prst="rect">
            <a:avLst/>
          </a:prstGeom>
        </p:spPr>
      </p:pic>
      <p:sp>
        <p:nvSpPr>
          <p:cNvPr id="15" name="Plus 14"/>
          <p:cNvSpPr/>
          <p:nvPr/>
        </p:nvSpPr>
        <p:spPr>
          <a:xfrm>
            <a:off x="4343400" y="914400"/>
            <a:ext cx="1143000" cy="1219200"/>
          </a:xfrm>
          <a:prstGeom prst="mathPlus">
            <a:avLst/>
          </a:prstGeom>
          <a:solidFill>
            <a:schemeClr val="accent3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86400" y="1905000"/>
            <a:ext cx="3162300" cy="3162300"/>
          </a:xfrm>
          <a:prstGeom prst="rect">
            <a:avLst/>
          </a:prstGeom>
        </p:spPr>
      </p:pic>
      <p:sp>
        <p:nvSpPr>
          <p:cNvPr id="17" name="Rounded Rectangle 16"/>
          <p:cNvSpPr/>
          <p:nvPr/>
        </p:nvSpPr>
        <p:spPr>
          <a:xfrm>
            <a:off x="5715000" y="1066800"/>
            <a:ext cx="2895600" cy="8382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 smtClean="0"/>
              <a:t>Go PRIVATE</a:t>
            </a:r>
            <a:endParaRPr lang="en-US" sz="3200" dirty="0"/>
          </a:p>
        </p:txBody>
      </p:sp>
      <p:pic>
        <p:nvPicPr>
          <p:cNvPr id="21" name="Picture 20" descr="BB logo 4.jpg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43800" y="228600"/>
            <a:ext cx="1371600" cy="302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47854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5" grpId="0" animBg="1"/>
      <p:bldP spid="1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17392" name="Rectangle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0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EDCA8AD-8682-4585-8635-08C7AA2F5169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1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22271" y="207944"/>
            <a:ext cx="8636009" cy="577850"/>
          </a:xfrm>
        </p:spPr>
        <p:txBody>
          <a:bodyPr>
            <a:noAutofit/>
          </a:bodyPr>
          <a:lstStyle/>
          <a:p>
            <a:pPr lvl="0" algn="l">
              <a:defRPr/>
            </a:pPr>
            <a:r>
              <a:rPr lang="en-US" sz="2400" b="1" kern="0" dirty="0" smtClean="0">
                <a:solidFill>
                  <a:schemeClr val="tx2"/>
                </a:solidFill>
              </a:rPr>
              <a:t> </a:t>
            </a:r>
            <a:endParaRPr lang="en-US" sz="2400" b="1" dirty="0">
              <a:solidFill>
                <a:schemeClr val="tx2"/>
              </a:solidFill>
            </a:endParaRPr>
          </a:p>
        </p:txBody>
      </p:sp>
      <p:sp>
        <p:nvSpPr>
          <p:cNvPr id="8" name="3 Rectángulo"/>
          <p:cNvSpPr/>
          <p:nvPr/>
        </p:nvSpPr>
        <p:spPr>
          <a:xfrm>
            <a:off x="323850" y="650363"/>
            <a:ext cx="8496300" cy="35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GT"/>
          </a:p>
        </p:txBody>
      </p:sp>
      <p:sp>
        <p:nvSpPr>
          <p:cNvPr id="2" name="TextBox 1"/>
          <p:cNvSpPr txBox="1"/>
          <p:nvPr/>
        </p:nvSpPr>
        <p:spPr>
          <a:xfrm>
            <a:off x="296036" y="147935"/>
            <a:ext cx="54951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chemeClr val="tx2"/>
                </a:solidFill>
              </a:rPr>
              <a:t>Acquisitions / Partnerships : Join hands….</a:t>
            </a:r>
            <a:endParaRPr lang="en-US" sz="2400" b="1" dirty="0">
              <a:solidFill>
                <a:schemeClr val="tx2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81600" y="762000"/>
            <a:ext cx="3289300" cy="24638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9600" y="838200"/>
            <a:ext cx="3213100" cy="2527300"/>
          </a:xfrm>
          <a:prstGeom prst="rect">
            <a:avLst/>
          </a:prstGeom>
        </p:spPr>
      </p:pic>
      <p:graphicFrame>
        <p:nvGraphicFramePr>
          <p:cNvPr id="16" name="Diagram 15"/>
          <p:cNvGraphicFramePr/>
          <p:nvPr>
            <p:extLst>
              <p:ext uri="{D42A27DB-BD31-4B8C-83A1-F6EECF244321}">
                <p14:modId xmlns:p14="http://schemas.microsoft.com/office/powerpoint/2010/main" val="1741890922"/>
              </p:ext>
            </p:extLst>
          </p:nvPr>
        </p:nvGraphicFramePr>
        <p:xfrm>
          <a:off x="-76200" y="3429000"/>
          <a:ext cx="3810000" cy="609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21" name="Diagram 20"/>
          <p:cNvGraphicFramePr/>
          <p:nvPr>
            <p:extLst>
              <p:ext uri="{D42A27DB-BD31-4B8C-83A1-F6EECF244321}">
                <p14:modId xmlns:p14="http://schemas.microsoft.com/office/powerpoint/2010/main" val="1692323651"/>
              </p:ext>
            </p:extLst>
          </p:nvPr>
        </p:nvGraphicFramePr>
        <p:xfrm>
          <a:off x="4724400" y="3429000"/>
          <a:ext cx="3810000" cy="609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380286" y="4190762"/>
            <a:ext cx="4801314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/>
              <a:t>Patent Portfolio Companies</a:t>
            </a:r>
          </a:p>
          <a:p>
            <a:pPr marL="742950" lvl="1" indent="-285750">
              <a:buFont typeface="Arial"/>
              <a:buChar char="•"/>
            </a:pPr>
            <a:r>
              <a:rPr lang="en-US" sz="2000" dirty="0" smtClean="0"/>
              <a:t>For Newer Products</a:t>
            </a:r>
          </a:p>
          <a:p>
            <a:pPr marL="742950" lvl="1" indent="-285750">
              <a:buFont typeface="Arial"/>
              <a:buChar char="•"/>
            </a:pPr>
            <a:r>
              <a:rPr lang="en-US" sz="2000" dirty="0" smtClean="0"/>
              <a:t>Faster and better products to Market</a:t>
            </a:r>
          </a:p>
          <a:p>
            <a:pPr marL="742950" lvl="1" indent="-285750">
              <a:buFont typeface="Arial"/>
              <a:buChar char="•"/>
            </a:pPr>
            <a:r>
              <a:rPr lang="en-US" sz="2000" dirty="0" err="1" smtClean="0"/>
              <a:t>Paratek</a:t>
            </a:r>
            <a:r>
              <a:rPr lang="en-US" sz="2000" dirty="0" smtClean="0"/>
              <a:t> and Nortel</a:t>
            </a:r>
          </a:p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4342686" y="4191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5105400" y="4191000"/>
            <a:ext cx="4147840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/>
              <a:t>With Bigger giants for mutual growth</a:t>
            </a:r>
          </a:p>
          <a:p>
            <a:pPr marL="800100" lvl="1" indent="-342900">
              <a:buFont typeface="Arial"/>
              <a:buChar char="•"/>
            </a:pPr>
            <a:r>
              <a:rPr lang="en-US" sz="2000" dirty="0" smtClean="0"/>
              <a:t>Amazon</a:t>
            </a:r>
          </a:p>
          <a:p>
            <a:pPr marL="800100" lvl="1" indent="-342900">
              <a:buFont typeface="Arial"/>
              <a:buChar char="•"/>
            </a:pPr>
            <a:r>
              <a:rPr lang="en-US" sz="2000" dirty="0" smtClean="0"/>
              <a:t>Lenovo</a:t>
            </a:r>
          </a:p>
          <a:p>
            <a:pPr marL="800100" lvl="1" indent="-342900">
              <a:buFont typeface="Arial"/>
              <a:buChar char="•"/>
            </a:pPr>
            <a:r>
              <a:rPr lang="en-US" sz="2000" dirty="0" smtClean="0"/>
              <a:t>Samsung</a:t>
            </a:r>
          </a:p>
          <a:p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152400" y="5842000"/>
            <a:ext cx="762000" cy="635000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1066800" y="5867400"/>
            <a:ext cx="71058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Facebook – HTC Alliance    |   NOKIA – Microsoft Alliance   | Microsoft – LG </a:t>
            </a:r>
            <a:endParaRPr lang="en-US" dirty="0"/>
          </a:p>
        </p:txBody>
      </p:sp>
      <p:pic>
        <p:nvPicPr>
          <p:cNvPr id="20" name="Picture 19" descr="BB logo 4.jpg"/>
          <p:cNvPicPr>
            <a:picLocks noChangeAspect="1"/>
          </p:cNvPicPr>
          <p:nvPr/>
        </p:nvPicPr>
        <p:blipFill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43800" y="228600"/>
            <a:ext cx="1371600" cy="302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631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6" grpId="0">
        <p:bldAsOne/>
      </p:bldGraphic>
      <p:bldGraphic spid="21" grpId="0">
        <p:bldAsOne/>
      </p:bldGraphic>
      <p:bldP spid="18" grpId="0"/>
      <p:bldP spid="26" grpId="0"/>
      <p:bldP spid="2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17392" name="Rectangle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2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EDCA8AD-8682-4585-8635-08C7AA2F5169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8" name="3 Rectángulo"/>
          <p:cNvSpPr/>
          <p:nvPr/>
        </p:nvSpPr>
        <p:spPr>
          <a:xfrm>
            <a:off x="323850" y="650363"/>
            <a:ext cx="8496300" cy="35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GT"/>
          </a:p>
        </p:txBody>
      </p:sp>
      <p:sp>
        <p:nvSpPr>
          <p:cNvPr id="2" name="TextBox 1"/>
          <p:cNvSpPr txBox="1"/>
          <p:nvPr/>
        </p:nvSpPr>
        <p:spPr>
          <a:xfrm>
            <a:off x="228600" y="147935"/>
            <a:ext cx="48378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chemeClr val="tx2"/>
                </a:solidFill>
              </a:rPr>
              <a:t>Platform and Technology Innovation</a:t>
            </a:r>
            <a:endParaRPr lang="en-US" sz="2400" b="1" dirty="0">
              <a:solidFill>
                <a:schemeClr val="tx2"/>
              </a:solidFill>
            </a:endParaRPr>
          </a:p>
        </p:txBody>
      </p:sp>
      <p:grpSp>
        <p:nvGrpSpPr>
          <p:cNvPr id="9" name="Group 10"/>
          <p:cNvGrpSpPr/>
          <p:nvPr/>
        </p:nvGrpSpPr>
        <p:grpSpPr>
          <a:xfrm>
            <a:off x="457200" y="914400"/>
            <a:ext cx="7696200" cy="4406682"/>
            <a:chOff x="533400" y="2438400"/>
            <a:chExt cx="7696200" cy="4406682"/>
          </a:xfrm>
        </p:grpSpPr>
        <p:sp>
          <p:nvSpPr>
            <p:cNvPr id="3" name="TextBox 2"/>
            <p:cNvSpPr txBox="1"/>
            <p:nvPr/>
          </p:nvSpPr>
          <p:spPr>
            <a:xfrm>
              <a:off x="914400" y="2895600"/>
              <a:ext cx="7315200" cy="26673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120000"/>
                </a:lnSpc>
                <a:buFont typeface="Arial"/>
                <a:buChar char="•"/>
              </a:pPr>
              <a:r>
                <a:rPr lang="en-US" sz="2000" dirty="0" smtClean="0"/>
                <a:t>Develop Software apps for other platforms.</a:t>
              </a:r>
            </a:p>
            <a:p>
              <a:pPr marL="285750" indent="-285750">
                <a:lnSpc>
                  <a:spcPct val="120000"/>
                </a:lnSpc>
                <a:buFont typeface="Arial"/>
                <a:buChar char="•"/>
              </a:pPr>
              <a:r>
                <a:rPr lang="en-US" sz="2000" dirty="0" smtClean="0"/>
                <a:t>BBM on Android and IOS – Released 2 days back.</a:t>
              </a:r>
            </a:p>
            <a:p>
              <a:pPr marL="285750" indent="-285750">
                <a:lnSpc>
                  <a:spcPct val="120000"/>
                </a:lnSpc>
                <a:buFont typeface="Arial"/>
                <a:buChar char="•"/>
              </a:pPr>
              <a:r>
                <a:rPr lang="en-US" sz="2000" dirty="0" smtClean="0"/>
                <a:t>Security enhancements</a:t>
              </a:r>
            </a:p>
            <a:p>
              <a:pPr marL="285750" indent="-285750">
                <a:lnSpc>
                  <a:spcPct val="120000"/>
                </a:lnSpc>
                <a:buFont typeface="Arial"/>
                <a:buChar char="•"/>
              </a:pPr>
              <a:r>
                <a:rPr lang="en-US" sz="2000" dirty="0" smtClean="0"/>
                <a:t>Open Platform for developers</a:t>
              </a:r>
            </a:p>
            <a:p>
              <a:pPr marL="285750" indent="-285750">
                <a:lnSpc>
                  <a:spcPct val="120000"/>
                </a:lnSpc>
                <a:buFont typeface="Arial"/>
                <a:buChar char="•"/>
              </a:pPr>
              <a:endParaRPr lang="en-US" sz="2000" dirty="0" smtClean="0"/>
            </a:p>
            <a:p>
              <a:pPr marL="285750" indent="-285750">
                <a:lnSpc>
                  <a:spcPct val="120000"/>
                </a:lnSpc>
                <a:buFont typeface="Arial"/>
                <a:buChar char="•"/>
              </a:pPr>
              <a:endParaRPr lang="en-US" sz="2000" dirty="0" smtClean="0"/>
            </a:p>
            <a:p>
              <a:pPr marL="285750" indent="-285750">
                <a:buFont typeface="Arial"/>
                <a:buChar char="•"/>
              </a:pPr>
              <a:endParaRPr lang="en-US" sz="2000" dirty="0"/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533400" y="2438400"/>
              <a:ext cx="1265641" cy="461665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2400" dirty="0" smtClean="0"/>
                <a:t>Platform</a:t>
              </a:r>
              <a:endParaRPr lang="en-US" sz="2400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533400" y="4495800"/>
              <a:ext cx="3035506" cy="461665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2400" dirty="0" smtClean="0"/>
                <a:t>Technology Innovation</a:t>
              </a:r>
              <a:endParaRPr lang="en-US" sz="2400" dirty="0"/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838200" y="5029200"/>
              <a:ext cx="6571030" cy="18158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lnSpc>
                  <a:spcPct val="120000"/>
                </a:lnSpc>
                <a:buFont typeface="Arial"/>
                <a:buChar char="•"/>
              </a:pPr>
              <a:r>
                <a:rPr lang="en-US" sz="2000" dirty="0" smtClean="0"/>
                <a:t>New hardware integrated with Android</a:t>
              </a:r>
            </a:p>
            <a:p>
              <a:pPr marL="285750" indent="-285750">
                <a:lnSpc>
                  <a:spcPct val="120000"/>
                </a:lnSpc>
                <a:buFont typeface="Arial"/>
                <a:buChar char="•"/>
              </a:pPr>
              <a:r>
                <a:rPr lang="en-US" sz="2000" dirty="0" smtClean="0"/>
                <a:t>Use of already held patents for new technology innovation</a:t>
              </a:r>
            </a:p>
            <a:p>
              <a:pPr marL="285750" indent="-285750">
                <a:lnSpc>
                  <a:spcPct val="120000"/>
                </a:lnSpc>
                <a:buFont typeface="Arial"/>
                <a:buChar char="•"/>
              </a:pPr>
              <a:endParaRPr lang="en-US" sz="2000" dirty="0" smtClean="0"/>
            </a:p>
            <a:p>
              <a:pPr marL="285750" indent="-285750">
                <a:buFont typeface="Arial"/>
                <a:buChar char="•"/>
              </a:pPr>
              <a:endParaRPr lang="en-US" sz="2000" dirty="0" smtClean="0"/>
            </a:p>
            <a:p>
              <a:pPr marL="285750" indent="-285750">
                <a:buFont typeface="Arial"/>
                <a:buChar char="•"/>
              </a:pPr>
              <a:endParaRPr lang="en-US" sz="2000" dirty="0"/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457200" y="4800600"/>
            <a:ext cx="1098678" cy="46166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400" dirty="0" smtClean="0"/>
              <a:t>Market</a:t>
            </a:r>
            <a:endParaRPr lang="en-US" sz="2400" dirty="0"/>
          </a:p>
        </p:txBody>
      </p:sp>
      <p:sp>
        <p:nvSpPr>
          <p:cNvPr id="16" name="TextBox 15"/>
          <p:cNvSpPr txBox="1"/>
          <p:nvPr/>
        </p:nvSpPr>
        <p:spPr>
          <a:xfrm>
            <a:off x="838200" y="5257800"/>
            <a:ext cx="2133918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2000" dirty="0" smtClean="0"/>
              <a:t>Customer Focus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endParaRPr lang="en-US" sz="2000" dirty="0" smtClean="0"/>
          </a:p>
          <a:p>
            <a:pPr marL="285750" indent="-285750">
              <a:buFont typeface="Arial"/>
              <a:buChar char="•"/>
            </a:pPr>
            <a:endParaRPr lang="en-US" sz="2000" dirty="0" smtClean="0"/>
          </a:p>
          <a:p>
            <a:pPr marL="285750" indent="-285750">
              <a:buFont typeface="Arial"/>
              <a:buChar char="•"/>
            </a:pPr>
            <a:endParaRPr lang="en-US" sz="20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24600" y="1219200"/>
            <a:ext cx="2286000" cy="1712293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29400" y="2971800"/>
            <a:ext cx="2095500" cy="2095500"/>
          </a:xfrm>
          <a:prstGeom prst="rect">
            <a:avLst/>
          </a:prstGeom>
        </p:spPr>
      </p:pic>
      <p:pic>
        <p:nvPicPr>
          <p:cNvPr id="20" name="Picture 19" descr="BB logo 4.jpg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43800" y="228600"/>
            <a:ext cx="1371600" cy="302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0342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17392" name="Rectangle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53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EDCA8AD-8682-4585-8635-08C7AA2F5169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1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28600" y="76200"/>
            <a:ext cx="8636009" cy="577850"/>
          </a:xfrm>
        </p:spPr>
        <p:txBody>
          <a:bodyPr>
            <a:noAutofit/>
          </a:bodyPr>
          <a:lstStyle/>
          <a:p>
            <a:pPr lvl="0" algn="l">
              <a:defRPr/>
            </a:pPr>
            <a:r>
              <a:rPr lang="en-US" sz="2400" b="1" dirty="0" smtClean="0">
                <a:solidFill>
                  <a:schemeClr val="tx2"/>
                </a:solidFill>
              </a:rPr>
              <a:t>So how do we select our options??</a:t>
            </a:r>
            <a:endParaRPr lang="en-US" sz="2400" b="1" dirty="0">
              <a:solidFill>
                <a:schemeClr val="tx2"/>
              </a:solidFill>
            </a:endParaRPr>
          </a:p>
        </p:txBody>
      </p:sp>
      <p:sp>
        <p:nvSpPr>
          <p:cNvPr id="8" name="3 Rectángulo"/>
          <p:cNvSpPr/>
          <p:nvPr/>
        </p:nvSpPr>
        <p:spPr>
          <a:xfrm>
            <a:off x="323850" y="650363"/>
            <a:ext cx="8496300" cy="35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GT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57400" y="1295400"/>
            <a:ext cx="4699000" cy="4699000"/>
          </a:xfrm>
          <a:prstGeom prst="rect">
            <a:avLst/>
          </a:prstGeom>
        </p:spPr>
      </p:pic>
      <p:pic>
        <p:nvPicPr>
          <p:cNvPr id="10" name="Picture 9" descr="BB logo 4.jpg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43800" y="228600"/>
            <a:ext cx="1371600" cy="302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99257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17392" name="Rectangle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7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EDCA8AD-8682-4585-8635-08C7AA2F5169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31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79391" y="0"/>
            <a:ext cx="8636009" cy="577850"/>
          </a:xfrm>
        </p:spPr>
        <p:txBody>
          <a:bodyPr>
            <a:noAutofit/>
          </a:bodyPr>
          <a:lstStyle/>
          <a:p>
            <a:pPr lvl="0" algn="l">
              <a:defRPr/>
            </a:pPr>
            <a:r>
              <a:rPr lang="en-US" sz="2400" b="1" dirty="0" smtClean="0">
                <a:solidFill>
                  <a:schemeClr val="tx2"/>
                </a:solidFill>
              </a:rPr>
              <a:t>So how do we select our options??</a:t>
            </a:r>
            <a:endParaRPr lang="en-US" sz="2400" b="1" dirty="0">
              <a:solidFill>
                <a:schemeClr val="tx2"/>
              </a:solidFill>
            </a:endParaRPr>
          </a:p>
        </p:txBody>
      </p:sp>
      <p:sp>
        <p:nvSpPr>
          <p:cNvPr id="8" name="3 Rectángulo"/>
          <p:cNvSpPr/>
          <p:nvPr/>
        </p:nvSpPr>
        <p:spPr>
          <a:xfrm>
            <a:off x="323850" y="650363"/>
            <a:ext cx="8496300" cy="35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GT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81800" y="4267200"/>
            <a:ext cx="2108200" cy="21082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57200" y="1524000"/>
            <a:ext cx="4185761" cy="409342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2000" dirty="0" smtClean="0"/>
              <a:t>STOP the Bleeding</a:t>
            </a:r>
          </a:p>
          <a:p>
            <a:pPr marL="742950" lvl="1" indent="-285750">
              <a:buFont typeface="Arial"/>
              <a:buChar char="•"/>
            </a:pPr>
            <a:r>
              <a:rPr lang="en-US" sz="2000" dirty="0" smtClean="0"/>
              <a:t>Cost Cutting</a:t>
            </a:r>
          </a:p>
          <a:p>
            <a:pPr marL="742950" lvl="1" indent="-285750">
              <a:buFont typeface="Arial"/>
              <a:buChar char="•"/>
            </a:pPr>
            <a:r>
              <a:rPr lang="en-US" sz="2000" dirty="0" smtClean="0"/>
              <a:t>CORE Program Implementation</a:t>
            </a:r>
          </a:p>
          <a:p>
            <a:pPr marL="742950" lvl="1" indent="-285750">
              <a:buFont typeface="Arial"/>
              <a:buChar char="•"/>
            </a:pPr>
            <a:endParaRPr lang="en-US" sz="2000" dirty="0"/>
          </a:p>
          <a:p>
            <a:pPr marL="285750" indent="-285750">
              <a:buFont typeface="Arial"/>
              <a:buChar char="•"/>
            </a:pPr>
            <a:r>
              <a:rPr lang="en-US" sz="2000" dirty="0" smtClean="0"/>
              <a:t>Liquidation</a:t>
            </a:r>
          </a:p>
          <a:p>
            <a:pPr marL="742950" lvl="1" indent="-285750">
              <a:buFont typeface="Arial"/>
              <a:buChar char="•"/>
            </a:pPr>
            <a:r>
              <a:rPr lang="en-US" sz="2000" dirty="0"/>
              <a:t>U</a:t>
            </a:r>
            <a:r>
              <a:rPr lang="en-US" sz="2000" dirty="0" smtClean="0"/>
              <a:t>seless inventory</a:t>
            </a:r>
          </a:p>
          <a:p>
            <a:pPr marL="742950" lvl="1" indent="-285750">
              <a:buFont typeface="Arial"/>
              <a:buChar char="•"/>
            </a:pPr>
            <a:r>
              <a:rPr lang="en-US" sz="2000" dirty="0" smtClean="0"/>
              <a:t>Less important patent portfolio</a:t>
            </a:r>
          </a:p>
          <a:p>
            <a:pPr marL="742950" lvl="1" indent="-285750">
              <a:buFont typeface="Arial"/>
              <a:buChar char="•"/>
            </a:pPr>
            <a:endParaRPr lang="en-US" sz="2000" dirty="0"/>
          </a:p>
          <a:p>
            <a:pPr marL="285750" indent="-285750">
              <a:buFont typeface="Arial"/>
              <a:buChar char="•"/>
            </a:pPr>
            <a:r>
              <a:rPr lang="en-US" sz="2000" dirty="0" smtClean="0"/>
              <a:t>Go Private</a:t>
            </a:r>
          </a:p>
          <a:p>
            <a:pPr marL="285750" indent="-285750">
              <a:buFont typeface="Arial"/>
              <a:buChar char="•"/>
            </a:pPr>
            <a:endParaRPr lang="en-US" sz="2000" dirty="0"/>
          </a:p>
          <a:p>
            <a:pPr marL="285750" indent="-285750">
              <a:buFont typeface="Arial"/>
              <a:buChar char="•"/>
            </a:pPr>
            <a:r>
              <a:rPr lang="en-US" sz="2000" dirty="0" smtClean="0"/>
              <a:t>Keep continuing Platform strategy</a:t>
            </a:r>
          </a:p>
          <a:p>
            <a:pPr marL="742950" lvl="1" indent="-285750">
              <a:buFont typeface="Arial"/>
              <a:buChar char="•"/>
            </a:pPr>
            <a:r>
              <a:rPr lang="en-US" sz="2000" dirty="0" smtClean="0"/>
              <a:t>IOS</a:t>
            </a:r>
          </a:p>
          <a:p>
            <a:pPr marL="742950" lvl="1" indent="-285750">
              <a:buFont typeface="Arial"/>
              <a:buChar char="•"/>
            </a:pPr>
            <a:r>
              <a:rPr lang="en-US" sz="2000" dirty="0" smtClean="0"/>
              <a:t>Android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457200" y="1062335"/>
            <a:ext cx="1586342" cy="46166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400" dirty="0" smtClean="0"/>
              <a:t>Short Term</a:t>
            </a:r>
            <a:endParaRPr lang="en-US" sz="2400" dirty="0"/>
          </a:p>
        </p:txBody>
      </p:sp>
      <p:sp>
        <p:nvSpPr>
          <p:cNvPr id="12" name="TextBox 11"/>
          <p:cNvSpPr txBox="1"/>
          <p:nvPr/>
        </p:nvSpPr>
        <p:spPr>
          <a:xfrm>
            <a:off x="4800600" y="1066800"/>
            <a:ext cx="1508796" cy="46166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400" dirty="0" smtClean="0"/>
              <a:t>Long Term</a:t>
            </a:r>
            <a:endParaRPr lang="en-US" sz="2400" dirty="0"/>
          </a:p>
        </p:txBody>
      </p:sp>
      <p:sp>
        <p:nvSpPr>
          <p:cNvPr id="16" name="TextBox 15"/>
          <p:cNvSpPr txBox="1"/>
          <p:nvPr/>
        </p:nvSpPr>
        <p:spPr>
          <a:xfrm>
            <a:off x="4800601" y="1524000"/>
            <a:ext cx="3657600" cy="193899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2000" dirty="0" smtClean="0"/>
              <a:t>New Hardware Devices</a:t>
            </a:r>
            <a:endParaRPr lang="en-US" sz="2000" dirty="0" smtClean="0"/>
          </a:p>
          <a:p>
            <a:pPr lvl="1"/>
            <a:endParaRPr lang="en-US" sz="2000" dirty="0"/>
          </a:p>
          <a:p>
            <a:pPr marL="285750" indent="-285750">
              <a:buFont typeface="Arial"/>
              <a:buChar char="•"/>
            </a:pPr>
            <a:r>
              <a:rPr lang="en-US" sz="2000" dirty="0" smtClean="0"/>
              <a:t>Niche Enterprise Focus</a:t>
            </a:r>
          </a:p>
          <a:p>
            <a:pPr marL="285750" indent="-285750">
              <a:buFont typeface="Arial"/>
              <a:buChar char="•"/>
            </a:pPr>
            <a:endParaRPr lang="en-US" sz="2000" dirty="0"/>
          </a:p>
          <a:p>
            <a:pPr marL="285750" indent="-285750">
              <a:buFont typeface="Arial"/>
              <a:buChar char="•"/>
            </a:pPr>
            <a:r>
              <a:rPr lang="en-US" sz="2000" dirty="0" smtClean="0"/>
              <a:t>Bring back “Security = Blackberry” message</a:t>
            </a:r>
          </a:p>
        </p:txBody>
      </p:sp>
    </p:spTree>
    <p:extLst>
      <p:ext uri="{BB962C8B-B14F-4D97-AF65-F5344CB8AC3E}">
        <p14:creationId xmlns:p14="http://schemas.microsoft.com/office/powerpoint/2010/main" val="191329488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>
          <a:xfrm>
            <a:off x="838200" y="3810000"/>
            <a:ext cx="4267200" cy="36576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Slide Number Placeholder 17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EDCA8AD-8682-4585-8635-08C7AA2F5169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2307075" name="Rectangle 3"/>
          <p:cNvSpPr>
            <a:spLocks noGrp="1" noChangeArrowheads="1"/>
          </p:cNvSpPr>
          <p:nvPr>
            <p:ph type="title"/>
          </p:nvPr>
        </p:nvSpPr>
        <p:spPr>
          <a:xfrm>
            <a:off x="289560" y="304800"/>
            <a:ext cx="5120640" cy="294794"/>
          </a:xfrm>
        </p:spPr>
        <p:txBody>
          <a:bodyPr>
            <a:noAutofit/>
          </a:bodyPr>
          <a:lstStyle/>
          <a:p>
            <a:pPr algn="l"/>
            <a:r>
              <a:rPr lang="en-GB" sz="2000" b="1" dirty="0" smtClean="0">
                <a:solidFill>
                  <a:schemeClr val="tx2"/>
                </a:solidFill>
              </a:rPr>
              <a:t>AGENDA</a:t>
            </a:r>
            <a:endParaRPr lang="en-GB" sz="2000" b="1" dirty="0">
              <a:solidFill>
                <a:schemeClr val="tx2"/>
              </a:solidFill>
            </a:endParaRPr>
          </a:p>
        </p:txBody>
      </p:sp>
      <p:sp>
        <p:nvSpPr>
          <p:cNvPr id="2307076" name="Rectangle 4"/>
          <p:cNvSpPr>
            <a:spLocks noChangeArrowheads="1"/>
          </p:cNvSpPr>
          <p:nvPr/>
        </p:nvSpPr>
        <p:spPr bwMode="auto">
          <a:xfrm>
            <a:off x="1" y="1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en-US" dirty="0"/>
          </a:p>
        </p:txBody>
      </p:sp>
      <p:sp>
        <p:nvSpPr>
          <p:cNvPr id="9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990600" y="533400"/>
            <a:ext cx="7330048" cy="5924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344521" lvl="1" indent="-342900" defTabSz="913526">
              <a:spcBef>
                <a:spcPct val="100000"/>
              </a:spcBef>
              <a:buFont typeface="+mj-lt"/>
              <a:buAutoNum type="arabicPeriod"/>
            </a:pPr>
            <a:endParaRPr lang="en-US" sz="1500" b="1" dirty="0" smtClean="0">
              <a:solidFill>
                <a:schemeClr val="accent1"/>
              </a:solidFill>
            </a:endParaRPr>
          </a:p>
          <a:p>
            <a:pPr marL="304800" lvl="1" indent="-30480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en-US" sz="1500" dirty="0" smtClean="0">
                <a:latin typeface="Arial" charset="0"/>
              </a:rPr>
              <a:t>Situation Assessment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Introduction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Strategic profile – Key issues and root causes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Financial profile</a:t>
            </a:r>
            <a:endParaRPr lang="en-US" sz="1500" dirty="0">
              <a:latin typeface="Arial" charset="0"/>
            </a:endParaRPr>
          </a:p>
          <a:p>
            <a:pPr marL="304800" lvl="1" indent="-30480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en-US" sz="1500" dirty="0" smtClean="0">
                <a:latin typeface="Arial" charset="0"/>
              </a:rPr>
              <a:t>Option Analysis </a:t>
            </a:r>
            <a:endParaRPr lang="en-US" sz="1500" dirty="0">
              <a:latin typeface="Arial" charset="0"/>
            </a:endParaRP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Options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Criteria for success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Recommendations </a:t>
            </a:r>
            <a:endParaRPr lang="en-US" sz="1500" dirty="0">
              <a:latin typeface="Arial" charset="0"/>
            </a:endParaRPr>
          </a:p>
          <a:p>
            <a:pPr marL="304800" lvl="1" indent="-30480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en-US" sz="1500" b="1" dirty="0" smtClean="0">
                <a:latin typeface="Arial" charset="0"/>
              </a:rPr>
              <a:t>Turnaround plan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Execution Roadmap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Timeline and Issues</a:t>
            </a:r>
            <a:endParaRPr lang="en-US" sz="1500" dirty="0">
              <a:latin typeface="Arial" charset="0"/>
            </a:endParaRPr>
          </a:p>
          <a:p>
            <a:pPr marL="304800" lvl="1" indent="-30480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en-US" sz="1500" dirty="0" smtClean="0">
                <a:latin typeface="Arial" charset="0"/>
              </a:rPr>
              <a:t>Financial projections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How elements of Turnaround plan effect projections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Measures to measure turnaround success </a:t>
            </a:r>
            <a:endParaRPr lang="en-US" sz="1500" dirty="0">
              <a:latin typeface="Arial" charset="0"/>
            </a:endParaRPr>
          </a:p>
          <a:p>
            <a:pPr marL="304800" lvl="1" indent="-30480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en-US" sz="1500" dirty="0" smtClean="0">
                <a:latin typeface="Arial" charset="0"/>
              </a:rPr>
              <a:t>Conclusion </a:t>
            </a:r>
            <a:endParaRPr lang="en-US" sz="1500" dirty="0">
              <a:latin typeface="Arial" charset="0"/>
            </a:endParaRPr>
          </a:p>
        </p:txBody>
      </p:sp>
      <p:sp>
        <p:nvSpPr>
          <p:cNvPr id="14" name="3 Rectángulo"/>
          <p:cNvSpPr/>
          <p:nvPr/>
        </p:nvSpPr>
        <p:spPr>
          <a:xfrm>
            <a:off x="323850" y="650363"/>
            <a:ext cx="8496300" cy="35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GT"/>
          </a:p>
        </p:txBody>
      </p:sp>
      <p:pic>
        <p:nvPicPr>
          <p:cNvPr id="15" name="Picture 14" descr="BB logo 4.jpg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43800" y="228600"/>
            <a:ext cx="1371600" cy="3023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738295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17392" name="Rectangle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0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EDCA8AD-8682-4585-8635-08C7AA2F5169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31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28600" y="152400"/>
            <a:ext cx="8636009" cy="577850"/>
          </a:xfrm>
        </p:spPr>
        <p:txBody>
          <a:bodyPr>
            <a:noAutofit/>
          </a:bodyPr>
          <a:lstStyle/>
          <a:p>
            <a:pPr lvl="0" algn="l">
              <a:defRPr/>
            </a:pPr>
            <a:r>
              <a:rPr lang="en-US" sz="2400" b="1" dirty="0" smtClean="0">
                <a:solidFill>
                  <a:schemeClr val="tx2"/>
                </a:solidFill>
              </a:rPr>
              <a:t>Execution Road Map</a:t>
            </a:r>
            <a:endParaRPr lang="en-US" sz="2400" b="1" dirty="0">
              <a:solidFill>
                <a:schemeClr val="tx2"/>
              </a:solidFill>
            </a:endParaRPr>
          </a:p>
        </p:txBody>
      </p:sp>
      <p:sp>
        <p:nvSpPr>
          <p:cNvPr id="8" name="3 Rectángulo"/>
          <p:cNvSpPr/>
          <p:nvPr/>
        </p:nvSpPr>
        <p:spPr>
          <a:xfrm>
            <a:off x="323850" y="650363"/>
            <a:ext cx="8496300" cy="35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GT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186843810"/>
              </p:ext>
            </p:extLst>
          </p:nvPr>
        </p:nvGraphicFramePr>
        <p:xfrm>
          <a:off x="1524000" y="2438400"/>
          <a:ext cx="6553200" cy="5207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4" name="Diagram 13"/>
          <p:cNvGraphicFramePr/>
          <p:nvPr>
            <p:extLst>
              <p:ext uri="{D42A27DB-BD31-4B8C-83A1-F6EECF244321}">
                <p14:modId xmlns:p14="http://schemas.microsoft.com/office/powerpoint/2010/main" val="1330791319"/>
              </p:ext>
            </p:extLst>
          </p:nvPr>
        </p:nvGraphicFramePr>
        <p:xfrm>
          <a:off x="381000" y="838200"/>
          <a:ext cx="8229600" cy="533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pic>
        <p:nvPicPr>
          <p:cNvPr id="11" name="Picture 10" descr="BB logo 4.jpg"/>
          <p:cNvPicPr>
            <a:picLocks noChangeAspect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43800" y="228600"/>
            <a:ext cx="1371600" cy="302383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>
          <a:xfrm>
            <a:off x="823352" y="838200"/>
            <a:ext cx="4267200" cy="36576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Slide Number Placeholder 17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EDCA8AD-8682-4585-8635-08C7AA2F5169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307075" name="Rectangle 3"/>
          <p:cNvSpPr>
            <a:spLocks noGrp="1" noChangeArrowheads="1"/>
          </p:cNvSpPr>
          <p:nvPr>
            <p:ph type="title"/>
          </p:nvPr>
        </p:nvSpPr>
        <p:spPr>
          <a:xfrm>
            <a:off x="76200" y="152400"/>
            <a:ext cx="5120640" cy="294794"/>
          </a:xfrm>
        </p:spPr>
        <p:txBody>
          <a:bodyPr>
            <a:noAutofit/>
          </a:bodyPr>
          <a:lstStyle/>
          <a:p>
            <a:pPr algn="l"/>
            <a:r>
              <a:rPr lang="en-GB" sz="2800" b="1" dirty="0" smtClean="0">
                <a:solidFill>
                  <a:schemeClr val="tx2"/>
                </a:solidFill>
              </a:rPr>
              <a:t>Agenda</a:t>
            </a:r>
            <a:r>
              <a:rPr lang="en-GB" sz="2000" b="1" dirty="0" smtClean="0">
                <a:solidFill>
                  <a:schemeClr val="tx2"/>
                </a:solidFill>
              </a:rPr>
              <a:t>:</a:t>
            </a:r>
            <a:endParaRPr lang="en-GB" sz="2000" b="1" dirty="0">
              <a:solidFill>
                <a:schemeClr val="tx2"/>
              </a:solidFill>
            </a:endParaRPr>
          </a:p>
        </p:txBody>
      </p:sp>
      <p:sp>
        <p:nvSpPr>
          <p:cNvPr id="2307076" name="Rectangle 4"/>
          <p:cNvSpPr>
            <a:spLocks noChangeArrowheads="1"/>
          </p:cNvSpPr>
          <p:nvPr/>
        </p:nvSpPr>
        <p:spPr bwMode="auto">
          <a:xfrm>
            <a:off x="1" y="1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en-US" dirty="0"/>
          </a:p>
        </p:txBody>
      </p:sp>
      <p:sp>
        <p:nvSpPr>
          <p:cNvPr id="9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975752" y="552301"/>
            <a:ext cx="7330048" cy="5924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344521" lvl="1" indent="-342900" defTabSz="913526">
              <a:spcBef>
                <a:spcPct val="100000"/>
              </a:spcBef>
              <a:buFont typeface="+mj-lt"/>
              <a:buAutoNum type="arabicPeriod"/>
            </a:pPr>
            <a:endParaRPr lang="en-US" sz="1500" b="1" dirty="0" smtClean="0">
              <a:solidFill>
                <a:schemeClr val="accent1"/>
              </a:solidFill>
            </a:endParaRPr>
          </a:p>
          <a:p>
            <a:pPr marL="304800" lvl="1" indent="-30480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en-US" sz="1500" b="1" dirty="0" smtClean="0">
                <a:latin typeface="Arial" charset="0"/>
              </a:rPr>
              <a:t>Situation Assessment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Introduction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Strategic profile – Key issues and root causes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Financial profile</a:t>
            </a:r>
            <a:endParaRPr lang="en-US" sz="1500" dirty="0">
              <a:latin typeface="Arial" charset="0"/>
            </a:endParaRPr>
          </a:p>
          <a:p>
            <a:pPr marL="304800" lvl="1" indent="-30480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en-US" sz="1500" dirty="0" smtClean="0">
                <a:latin typeface="Arial" charset="0"/>
              </a:rPr>
              <a:t>Option Analysis  </a:t>
            </a:r>
            <a:endParaRPr lang="en-US" sz="1500" dirty="0">
              <a:latin typeface="Arial" charset="0"/>
            </a:endParaRP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Options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Criteria for success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Recommendations </a:t>
            </a:r>
            <a:endParaRPr lang="en-US" sz="1500" dirty="0">
              <a:latin typeface="Arial" charset="0"/>
            </a:endParaRPr>
          </a:p>
          <a:p>
            <a:pPr marL="304800" lvl="1" indent="-30480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en-US" sz="1500" dirty="0" smtClean="0">
                <a:latin typeface="Arial" charset="0"/>
              </a:rPr>
              <a:t>Turnaround plan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Execution issues and priorities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Timeline </a:t>
            </a:r>
            <a:endParaRPr lang="en-US" sz="1500" dirty="0">
              <a:latin typeface="Arial" charset="0"/>
            </a:endParaRPr>
          </a:p>
          <a:p>
            <a:pPr marL="304800" lvl="1" indent="-30480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en-US" sz="1500" dirty="0" smtClean="0">
                <a:latin typeface="Arial" charset="0"/>
              </a:rPr>
              <a:t>Financial projections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How elements of Turnaround plan effect projections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Measures to measure turnaround success </a:t>
            </a:r>
            <a:endParaRPr lang="en-US" sz="1500" dirty="0">
              <a:latin typeface="Arial" charset="0"/>
            </a:endParaRPr>
          </a:p>
          <a:p>
            <a:pPr marL="304800" lvl="1" indent="-30480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en-US" sz="1500" dirty="0" smtClean="0">
                <a:latin typeface="Arial" charset="0"/>
              </a:rPr>
              <a:t>Conclusion </a:t>
            </a:r>
            <a:endParaRPr lang="en-US" sz="1500" dirty="0">
              <a:latin typeface="Arial" charset="0"/>
            </a:endParaRPr>
          </a:p>
        </p:txBody>
      </p:sp>
      <p:pic>
        <p:nvPicPr>
          <p:cNvPr id="13" name="Picture 12" descr="BB logo 4.jpg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43800" y="228600"/>
            <a:ext cx="1371600" cy="3023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27234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17392" name="Rectangle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2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EDCA8AD-8682-4585-8635-08C7AA2F5169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31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28600" y="76200"/>
            <a:ext cx="8636009" cy="577850"/>
          </a:xfrm>
        </p:spPr>
        <p:txBody>
          <a:bodyPr>
            <a:noAutofit/>
          </a:bodyPr>
          <a:lstStyle/>
          <a:p>
            <a:pPr lvl="0" algn="l">
              <a:defRPr/>
            </a:pPr>
            <a:r>
              <a:rPr lang="en-US" sz="2400" b="1" dirty="0" smtClean="0">
                <a:solidFill>
                  <a:schemeClr val="tx2"/>
                </a:solidFill>
              </a:rPr>
              <a:t>Timeline and Issues during restructuring</a:t>
            </a:r>
            <a:endParaRPr lang="en-US" sz="2400" b="1" dirty="0">
              <a:solidFill>
                <a:schemeClr val="tx2"/>
              </a:solidFill>
            </a:endParaRPr>
          </a:p>
        </p:txBody>
      </p:sp>
      <p:sp>
        <p:nvSpPr>
          <p:cNvPr id="8" name="3 Rectángulo"/>
          <p:cNvSpPr/>
          <p:nvPr/>
        </p:nvSpPr>
        <p:spPr>
          <a:xfrm>
            <a:off x="323850" y="650363"/>
            <a:ext cx="8496300" cy="35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GT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3773625868"/>
              </p:ext>
            </p:extLst>
          </p:nvPr>
        </p:nvGraphicFramePr>
        <p:xfrm>
          <a:off x="381000" y="838200"/>
          <a:ext cx="4800600" cy="5410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2458709164"/>
              </p:ext>
            </p:extLst>
          </p:nvPr>
        </p:nvGraphicFramePr>
        <p:xfrm>
          <a:off x="5105400" y="457200"/>
          <a:ext cx="3810000" cy="5715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pic>
        <p:nvPicPr>
          <p:cNvPr id="11" name="Picture 10" descr="BB logo 4.jpg"/>
          <p:cNvPicPr>
            <a:picLocks noChangeAspect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43800" y="228600"/>
            <a:ext cx="1371600" cy="302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05548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17392" name="Rectangle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4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EDCA8AD-8682-4585-8635-08C7AA2F5169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31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28600" y="152400"/>
            <a:ext cx="8636009" cy="577850"/>
          </a:xfrm>
        </p:spPr>
        <p:txBody>
          <a:bodyPr>
            <a:noAutofit/>
          </a:bodyPr>
          <a:lstStyle/>
          <a:p>
            <a:pPr lvl="0" algn="l">
              <a:defRPr/>
            </a:pPr>
            <a:r>
              <a:rPr lang="en-US" sz="2400" b="1" dirty="0" smtClean="0">
                <a:solidFill>
                  <a:schemeClr val="tx2"/>
                </a:solidFill>
              </a:rPr>
              <a:t>Timeline</a:t>
            </a:r>
            <a:endParaRPr lang="en-US" sz="2400" b="1" dirty="0">
              <a:solidFill>
                <a:schemeClr val="tx2"/>
              </a:solidFill>
            </a:endParaRPr>
          </a:p>
        </p:txBody>
      </p:sp>
      <p:sp>
        <p:nvSpPr>
          <p:cNvPr id="8" name="3 Rectángulo"/>
          <p:cNvSpPr/>
          <p:nvPr/>
        </p:nvSpPr>
        <p:spPr>
          <a:xfrm>
            <a:off x="323850" y="650363"/>
            <a:ext cx="8496300" cy="35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GT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060206944"/>
              </p:ext>
            </p:extLst>
          </p:nvPr>
        </p:nvGraphicFramePr>
        <p:xfrm>
          <a:off x="1249868" y="921758"/>
          <a:ext cx="6553200" cy="487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10" name="Picture 9" descr="BB logo 4.jpg"/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43800" y="228600"/>
            <a:ext cx="1371600" cy="302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40972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>
          <a:xfrm>
            <a:off x="838200" y="4968240"/>
            <a:ext cx="4267200" cy="36576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Slide Number Placeholder 17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EDCA8AD-8682-4585-8635-08C7AA2F5169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2307075" name="Rectangle 3"/>
          <p:cNvSpPr>
            <a:spLocks noGrp="1" noChangeArrowheads="1"/>
          </p:cNvSpPr>
          <p:nvPr>
            <p:ph type="title"/>
          </p:nvPr>
        </p:nvSpPr>
        <p:spPr>
          <a:xfrm>
            <a:off x="289560" y="304800"/>
            <a:ext cx="5120640" cy="294794"/>
          </a:xfrm>
        </p:spPr>
        <p:txBody>
          <a:bodyPr>
            <a:noAutofit/>
          </a:bodyPr>
          <a:lstStyle/>
          <a:p>
            <a:pPr algn="l"/>
            <a:r>
              <a:rPr lang="en-GB" sz="2000" b="1" dirty="0" smtClean="0">
                <a:solidFill>
                  <a:schemeClr val="tx2"/>
                </a:solidFill>
              </a:rPr>
              <a:t>AGENDA</a:t>
            </a:r>
            <a:endParaRPr lang="en-GB" sz="2000" b="1" dirty="0">
              <a:solidFill>
                <a:schemeClr val="tx2"/>
              </a:solidFill>
            </a:endParaRPr>
          </a:p>
        </p:txBody>
      </p:sp>
      <p:sp>
        <p:nvSpPr>
          <p:cNvPr id="2307076" name="Rectangle 4"/>
          <p:cNvSpPr>
            <a:spLocks noChangeArrowheads="1"/>
          </p:cNvSpPr>
          <p:nvPr/>
        </p:nvSpPr>
        <p:spPr bwMode="auto">
          <a:xfrm>
            <a:off x="1" y="1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en-US" dirty="0"/>
          </a:p>
        </p:txBody>
      </p:sp>
      <p:sp>
        <p:nvSpPr>
          <p:cNvPr id="9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990600" y="533400"/>
            <a:ext cx="7330048" cy="5924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344521" lvl="1" indent="-342900" defTabSz="913526">
              <a:spcBef>
                <a:spcPct val="100000"/>
              </a:spcBef>
              <a:buFont typeface="+mj-lt"/>
              <a:buAutoNum type="arabicPeriod"/>
            </a:pPr>
            <a:endParaRPr lang="en-US" sz="1500" b="1" dirty="0" smtClean="0">
              <a:solidFill>
                <a:schemeClr val="accent1"/>
              </a:solidFill>
            </a:endParaRPr>
          </a:p>
          <a:p>
            <a:pPr marL="304800" lvl="1" indent="-30480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en-US" sz="1500" dirty="0" smtClean="0">
                <a:latin typeface="Arial" charset="0"/>
              </a:rPr>
              <a:t>Situation Assessment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Introduction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Strategic profile – Key issues and root causes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Financial profile</a:t>
            </a:r>
            <a:endParaRPr lang="en-US" sz="1500" dirty="0">
              <a:latin typeface="Arial" charset="0"/>
            </a:endParaRPr>
          </a:p>
          <a:p>
            <a:pPr marL="304800" lvl="1" indent="-30480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en-US" sz="1500" dirty="0" smtClean="0">
                <a:latin typeface="Arial" charset="0"/>
              </a:rPr>
              <a:t>Option Analysis </a:t>
            </a:r>
            <a:endParaRPr lang="en-US" sz="1500" dirty="0">
              <a:latin typeface="Arial" charset="0"/>
            </a:endParaRP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Options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Criteria for success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Recommendations </a:t>
            </a:r>
            <a:endParaRPr lang="en-US" sz="1500" dirty="0">
              <a:latin typeface="Arial" charset="0"/>
            </a:endParaRPr>
          </a:p>
          <a:p>
            <a:pPr marL="304800" lvl="1" indent="-30480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en-US" sz="1500" dirty="0" smtClean="0">
                <a:latin typeface="Arial" charset="0"/>
              </a:rPr>
              <a:t>Turnaround plan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Execution issues and priorities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Timeline </a:t>
            </a:r>
            <a:endParaRPr lang="en-US" sz="1500" dirty="0">
              <a:latin typeface="Arial" charset="0"/>
            </a:endParaRPr>
          </a:p>
          <a:p>
            <a:pPr marL="304800" lvl="1" indent="-30480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en-US" sz="1500" b="1" dirty="0" smtClean="0">
                <a:latin typeface="Arial" charset="0"/>
              </a:rPr>
              <a:t>Financial projections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How elements of Turnaround plan effect projections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Measures to measure turnaround success </a:t>
            </a:r>
            <a:endParaRPr lang="en-US" sz="1500" dirty="0">
              <a:latin typeface="Arial" charset="0"/>
            </a:endParaRPr>
          </a:p>
          <a:p>
            <a:pPr marL="304800" lvl="1" indent="-30480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en-US" sz="1500" dirty="0" smtClean="0">
                <a:latin typeface="Arial" charset="0"/>
              </a:rPr>
              <a:t>Conclusion </a:t>
            </a:r>
            <a:endParaRPr lang="en-US" sz="1500" dirty="0">
              <a:latin typeface="Arial" charset="0"/>
            </a:endParaRPr>
          </a:p>
        </p:txBody>
      </p:sp>
      <p:sp>
        <p:nvSpPr>
          <p:cNvPr id="14" name="3 Rectángulo"/>
          <p:cNvSpPr/>
          <p:nvPr/>
        </p:nvSpPr>
        <p:spPr>
          <a:xfrm>
            <a:off x="323850" y="650363"/>
            <a:ext cx="8496300" cy="35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GT"/>
          </a:p>
        </p:txBody>
      </p:sp>
      <p:pic>
        <p:nvPicPr>
          <p:cNvPr id="15" name="Picture 14" descr="BB logo 4.jpg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43800" y="228600"/>
            <a:ext cx="1371600" cy="3023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592022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17392" name="Rectangle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73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EDCA8AD-8682-4585-8635-08C7AA2F5169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31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26991" y="228600"/>
            <a:ext cx="8636009" cy="577850"/>
          </a:xfrm>
        </p:spPr>
        <p:txBody>
          <a:bodyPr>
            <a:noAutofit/>
          </a:bodyPr>
          <a:lstStyle/>
          <a:p>
            <a:pPr lvl="0" algn="l">
              <a:defRPr/>
            </a:pPr>
            <a:r>
              <a:rPr lang="en-US" sz="2400" b="1" dirty="0" smtClean="0">
                <a:solidFill>
                  <a:schemeClr val="tx2"/>
                </a:solidFill>
              </a:rPr>
              <a:t>How will elements </a:t>
            </a:r>
            <a:r>
              <a:rPr lang="en-US" sz="2400" b="1" dirty="0">
                <a:solidFill>
                  <a:schemeClr val="tx2"/>
                </a:solidFill>
              </a:rPr>
              <a:t>of Turnaround plan </a:t>
            </a:r>
            <a:r>
              <a:rPr lang="en-US" sz="2400" b="1" dirty="0" smtClean="0">
                <a:solidFill>
                  <a:schemeClr val="tx2"/>
                </a:solidFill>
              </a:rPr>
              <a:t/>
            </a:r>
            <a:br>
              <a:rPr lang="en-US" sz="2400" b="1" dirty="0" smtClean="0">
                <a:solidFill>
                  <a:schemeClr val="tx2"/>
                </a:solidFill>
              </a:rPr>
            </a:br>
            <a:r>
              <a:rPr lang="en-US" sz="2400" b="1" dirty="0" smtClean="0">
                <a:solidFill>
                  <a:schemeClr val="tx2"/>
                </a:solidFill>
              </a:rPr>
              <a:t>effect </a:t>
            </a:r>
            <a:r>
              <a:rPr lang="en-US" sz="2400" b="1" dirty="0">
                <a:solidFill>
                  <a:schemeClr val="tx2"/>
                </a:solidFill>
              </a:rPr>
              <a:t>projections ??</a:t>
            </a:r>
          </a:p>
        </p:txBody>
      </p:sp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520348"/>
              </p:ext>
            </p:extLst>
          </p:nvPr>
        </p:nvGraphicFramePr>
        <p:xfrm>
          <a:off x="228600" y="1600200"/>
          <a:ext cx="8382001" cy="45400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4070"/>
                <a:gridCol w="3396621"/>
                <a:gridCol w="2601310"/>
              </a:tblGrid>
              <a:tr h="262799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rgbClr val="000000"/>
                          </a:solidFill>
                        </a:rPr>
                        <a:t>What</a:t>
                      </a:r>
                      <a:r>
                        <a:rPr lang="en-US" sz="1500" baseline="0" dirty="0" smtClean="0">
                          <a:solidFill>
                            <a:srgbClr val="000000"/>
                          </a:solidFill>
                        </a:rPr>
                        <a:t> ?</a:t>
                      </a:r>
                      <a:endParaRPr lang="en-US" sz="15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rgbClr val="000000"/>
                          </a:solidFill>
                        </a:rPr>
                        <a:t>How ?</a:t>
                      </a:r>
                      <a:endParaRPr lang="en-US" sz="15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rgbClr val="000000"/>
                          </a:solidFill>
                        </a:rPr>
                        <a:t>Result</a:t>
                      </a:r>
                      <a:endParaRPr lang="en-US" sz="15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588212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rgbClr val="000000"/>
                          </a:solidFill>
                        </a:rPr>
                        <a:t>Operational</a:t>
                      </a:r>
                      <a:r>
                        <a:rPr lang="en-US" sz="1500" baseline="0" dirty="0" smtClean="0">
                          <a:solidFill>
                            <a:srgbClr val="000000"/>
                          </a:solidFill>
                        </a:rPr>
                        <a:t> cost cutting</a:t>
                      </a:r>
                      <a:endParaRPr lang="en-US" sz="15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rgbClr val="000000"/>
                          </a:solidFill>
                        </a:rPr>
                        <a:t>50% operational cost</a:t>
                      </a:r>
                      <a:r>
                        <a:rPr lang="en-US" sz="1500" baseline="0" dirty="0" smtClean="0">
                          <a:solidFill>
                            <a:srgbClr val="000000"/>
                          </a:solidFill>
                        </a:rPr>
                        <a:t> cutting due to 40% employee layoffs by Aug 2014</a:t>
                      </a:r>
                      <a:endParaRPr lang="en-US" sz="15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rgbClr val="000000"/>
                          </a:solidFill>
                        </a:rPr>
                        <a:t>Decrease in Operational cost by 50%</a:t>
                      </a:r>
                      <a:endParaRPr lang="en-US" sz="15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36302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rgbClr val="000000"/>
                          </a:solidFill>
                        </a:rPr>
                        <a:t>Control bleeding</a:t>
                      </a:r>
                      <a:r>
                        <a:rPr lang="en-US" sz="1500" baseline="0" dirty="0" smtClean="0">
                          <a:solidFill>
                            <a:srgbClr val="000000"/>
                          </a:solidFill>
                        </a:rPr>
                        <a:t> in Device revenues in first and second years</a:t>
                      </a:r>
                      <a:endParaRPr lang="en-US" sz="15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rgbClr val="000000"/>
                          </a:solidFill>
                        </a:rPr>
                        <a:t>Focus</a:t>
                      </a:r>
                      <a:r>
                        <a:rPr lang="en-US" sz="1500" baseline="0" dirty="0" smtClean="0">
                          <a:solidFill>
                            <a:srgbClr val="000000"/>
                          </a:solidFill>
                        </a:rPr>
                        <a:t> on enterprise solutions and create better customer sentiment </a:t>
                      </a:r>
                      <a:endParaRPr lang="en-US" sz="15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rgbClr val="000000"/>
                          </a:solidFill>
                        </a:rPr>
                        <a:t>Decrease</a:t>
                      </a:r>
                      <a:r>
                        <a:rPr lang="en-US" sz="1500" baseline="0" dirty="0" smtClean="0">
                          <a:solidFill>
                            <a:srgbClr val="000000"/>
                          </a:solidFill>
                        </a:rPr>
                        <a:t> losses in device revenues from -52% to -35% in first year</a:t>
                      </a:r>
                      <a:endParaRPr lang="en-US" sz="15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786020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rgbClr val="000000"/>
                          </a:solidFill>
                        </a:rPr>
                        <a:t>Introduce</a:t>
                      </a:r>
                      <a:r>
                        <a:rPr lang="en-US" sz="1500" baseline="0" dirty="0" smtClean="0">
                          <a:solidFill>
                            <a:srgbClr val="000000"/>
                          </a:solidFill>
                        </a:rPr>
                        <a:t> new Devices with Android OS in 18 months</a:t>
                      </a:r>
                      <a:endParaRPr lang="en-US" sz="15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rgbClr val="000000"/>
                          </a:solidFill>
                        </a:rPr>
                        <a:t>Start</a:t>
                      </a:r>
                      <a:r>
                        <a:rPr lang="en-US" sz="1500" baseline="0" dirty="0" smtClean="0">
                          <a:solidFill>
                            <a:srgbClr val="000000"/>
                          </a:solidFill>
                        </a:rPr>
                        <a:t> developing a device that works on Android by start of 20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rgbClr val="000000"/>
                          </a:solidFill>
                        </a:rPr>
                        <a:t>Maintain device revenues and grow</a:t>
                      </a:r>
                      <a:r>
                        <a:rPr lang="en-US" sz="1500" baseline="0" dirty="0" smtClean="0">
                          <a:solidFill>
                            <a:srgbClr val="000000"/>
                          </a:solidFill>
                        </a:rPr>
                        <a:t> to 5% from 2016</a:t>
                      </a:r>
                      <a:endParaRPr lang="en-US" sz="15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572103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rgbClr val="000000"/>
                          </a:solidFill>
                        </a:rPr>
                        <a:t>Decrease COGS and inventory</a:t>
                      </a:r>
                      <a:r>
                        <a:rPr lang="en-US" sz="1500" baseline="0" dirty="0" smtClean="0">
                          <a:solidFill>
                            <a:srgbClr val="000000"/>
                          </a:solidFill>
                        </a:rPr>
                        <a:t> write offs</a:t>
                      </a:r>
                      <a:endParaRPr lang="en-US" sz="15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rgbClr val="000000"/>
                          </a:solidFill>
                        </a:rPr>
                        <a:t>Avoid</a:t>
                      </a:r>
                      <a:r>
                        <a:rPr lang="en-US" sz="1500" baseline="0" dirty="0" smtClean="0">
                          <a:solidFill>
                            <a:srgbClr val="000000"/>
                          </a:solidFill>
                        </a:rPr>
                        <a:t> inventory write offs by streamlining  to 4 devices </a:t>
                      </a:r>
                      <a:endParaRPr lang="en-US" sz="15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rgbClr val="000000"/>
                          </a:solidFill>
                        </a:rPr>
                        <a:t>Decrease</a:t>
                      </a:r>
                      <a:r>
                        <a:rPr lang="en-US" sz="1500" baseline="0" dirty="0" smtClean="0">
                          <a:solidFill>
                            <a:srgbClr val="000000"/>
                          </a:solidFill>
                        </a:rPr>
                        <a:t> in COGS by 4%</a:t>
                      </a:r>
                      <a:endParaRPr lang="en-US" sz="15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588212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rgbClr val="000000"/>
                          </a:solidFill>
                        </a:rPr>
                        <a:t>Maintain Service Revenues</a:t>
                      </a:r>
                    </a:p>
                    <a:p>
                      <a:r>
                        <a:rPr lang="en-US" sz="1500" dirty="0" smtClean="0">
                          <a:solidFill>
                            <a:srgbClr val="000000"/>
                          </a:solidFill>
                        </a:rPr>
                        <a:t>(Future</a:t>
                      </a:r>
                      <a:r>
                        <a:rPr lang="en-US" sz="1500" baseline="0" dirty="0" smtClean="0">
                          <a:solidFill>
                            <a:srgbClr val="000000"/>
                          </a:solidFill>
                        </a:rPr>
                        <a:t> Cash cow) </a:t>
                      </a:r>
                      <a:endParaRPr lang="en-US" sz="15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 smtClean="0">
                          <a:solidFill>
                            <a:srgbClr val="000000"/>
                          </a:solidFill>
                        </a:rPr>
                        <a:t>Provide</a:t>
                      </a:r>
                      <a:r>
                        <a:rPr lang="en-US" sz="1500" baseline="0" dirty="0" smtClean="0">
                          <a:solidFill>
                            <a:srgbClr val="000000"/>
                          </a:solidFill>
                        </a:rPr>
                        <a:t> better Service Integration with IOS and Android</a:t>
                      </a:r>
                      <a:endParaRPr lang="en-US" sz="1500" dirty="0" smtClean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rgbClr val="000000"/>
                          </a:solidFill>
                        </a:rPr>
                        <a:t>Grow by 5-10% in next</a:t>
                      </a:r>
                      <a:r>
                        <a:rPr lang="en-US" sz="1500" baseline="0" dirty="0" smtClean="0">
                          <a:solidFill>
                            <a:srgbClr val="000000"/>
                          </a:solidFill>
                        </a:rPr>
                        <a:t> 3 years</a:t>
                      </a:r>
                      <a:endParaRPr lang="en-US" sz="15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262799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rgbClr val="000000"/>
                          </a:solidFill>
                        </a:rPr>
                        <a:t>Cut unnecessary</a:t>
                      </a:r>
                      <a:r>
                        <a:rPr lang="en-US" sz="1500" baseline="0" dirty="0" smtClean="0">
                          <a:solidFill>
                            <a:srgbClr val="000000"/>
                          </a:solidFill>
                        </a:rPr>
                        <a:t> R&amp;D</a:t>
                      </a:r>
                      <a:endParaRPr lang="en-US" sz="15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rgbClr val="000000"/>
                          </a:solidFill>
                        </a:rPr>
                        <a:t>Focus on enterprise products</a:t>
                      </a:r>
                      <a:endParaRPr lang="en-US" sz="15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baseline="0" dirty="0" smtClean="0">
                          <a:solidFill>
                            <a:srgbClr val="000000"/>
                          </a:solidFill>
                        </a:rPr>
                        <a:t>Reduce R&amp;D spend by 10%</a:t>
                      </a:r>
                      <a:endParaRPr lang="en-US" sz="15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588212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rgbClr val="000000"/>
                          </a:solidFill>
                        </a:rPr>
                        <a:t>Market</a:t>
                      </a:r>
                      <a:r>
                        <a:rPr lang="en-US" sz="1500" baseline="0" dirty="0" smtClean="0">
                          <a:solidFill>
                            <a:srgbClr val="000000"/>
                          </a:solidFill>
                        </a:rPr>
                        <a:t> to customers</a:t>
                      </a:r>
                      <a:endParaRPr lang="en-US" sz="15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rgbClr val="000000"/>
                          </a:solidFill>
                        </a:rPr>
                        <a:t>Increase marketing spend</a:t>
                      </a:r>
                      <a:r>
                        <a:rPr lang="en-US" sz="1500" baseline="0" dirty="0" smtClean="0">
                          <a:solidFill>
                            <a:srgbClr val="000000"/>
                          </a:solidFill>
                        </a:rPr>
                        <a:t> in 2015 Maintain similar SG&amp;A costs</a:t>
                      </a:r>
                      <a:endParaRPr lang="en-US" sz="15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rgbClr val="000000"/>
                          </a:solidFill>
                        </a:rPr>
                        <a:t>Better brand</a:t>
                      </a:r>
                      <a:r>
                        <a:rPr lang="en-US" sz="1500" baseline="0" dirty="0" smtClean="0">
                          <a:solidFill>
                            <a:srgbClr val="000000"/>
                          </a:solidFill>
                        </a:rPr>
                        <a:t> perception</a:t>
                      </a:r>
                    </a:p>
                    <a:p>
                      <a:r>
                        <a:rPr lang="en-US" sz="1500" baseline="0" dirty="0" smtClean="0">
                          <a:solidFill>
                            <a:srgbClr val="000000"/>
                          </a:solidFill>
                        </a:rPr>
                        <a:t>Increased Revenues by 5%</a:t>
                      </a:r>
                      <a:endParaRPr lang="en-US" sz="15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7" name="Picture 6" descr="BB logo 4.jpg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43800" y="228600"/>
            <a:ext cx="1371600" cy="302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02595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3 Rectángulo"/>
          <p:cNvSpPr/>
          <p:nvPr/>
        </p:nvSpPr>
        <p:spPr>
          <a:xfrm>
            <a:off x="76200" y="650363"/>
            <a:ext cx="8496300" cy="35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GT"/>
          </a:p>
        </p:txBody>
      </p:sp>
      <p:sp>
        <p:nvSpPr>
          <p:cNvPr id="10" name="Rectangle 7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0" y="0"/>
            <a:ext cx="8636009" cy="577850"/>
          </a:xfrm>
        </p:spPr>
        <p:txBody>
          <a:bodyPr>
            <a:noAutofit/>
          </a:bodyPr>
          <a:lstStyle/>
          <a:p>
            <a:pPr lvl="0" algn="l">
              <a:defRPr/>
            </a:pPr>
            <a:r>
              <a:rPr lang="en-US" sz="2400" b="1" dirty="0" smtClean="0">
                <a:solidFill>
                  <a:schemeClr val="tx2"/>
                </a:solidFill>
              </a:rPr>
              <a:t>Revenue Projections</a:t>
            </a:r>
            <a:endParaRPr lang="en-US" sz="2400" b="1" dirty="0">
              <a:solidFill>
                <a:schemeClr val="tx2"/>
              </a:solidFill>
            </a:endParaRPr>
          </a:p>
        </p:txBody>
      </p:sp>
      <p:pic>
        <p:nvPicPr>
          <p:cNvPr id="7" name="Picture 6" descr="BB logo 4.jpg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43800" y="228600"/>
            <a:ext cx="1371600" cy="302383"/>
          </a:xfrm>
          <a:prstGeom prst="rect">
            <a:avLst/>
          </a:prstGeom>
        </p:spPr>
      </p:pic>
      <p:pic>
        <p:nvPicPr>
          <p:cNvPr id="189443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04799" y="919163"/>
            <a:ext cx="8153401" cy="47795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Rectangle 8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EDCA8AD-8682-4585-8635-08C7AA2F5169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2353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6182609"/>
              </p:ext>
            </p:extLst>
          </p:nvPr>
        </p:nvGraphicFramePr>
        <p:xfrm>
          <a:off x="304800" y="1219200"/>
          <a:ext cx="8153399" cy="4020649"/>
        </p:xfrm>
        <a:graphic>
          <a:graphicData uri="http://schemas.openxmlformats.org/drawingml/2006/table">
            <a:tbl>
              <a:tblPr/>
              <a:tblGrid>
                <a:gridCol w="2133600"/>
                <a:gridCol w="2209800"/>
                <a:gridCol w="914400"/>
                <a:gridCol w="1066800"/>
                <a:gridCol w="914400"/>
                <a:gridCol w="914399"/>
              </a:tblGrid>
              <a:tr h="160176"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Key Financials¹</a:t>
                      </a:r>
                    </a:p>
                  </a:txBody>
                  <a:tcPr marL="10688" marR="10688" marT="1068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 </a:t>
                      </a:r>
                    </a:p>
                  </a:txBody>
                  <a:tcPr marL="10688" marR="10688" marT="10688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 </a:t>
                      </a:r>
                    </a:p>
                  </a:txBody>
                  <a:tcPr marL="10688" marR="10688" marT="10688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 </a:t>
                      </a:r>
                    </a:p>
                  </a:txBody>
                  <a:tcPr marL="10688" marR="10688" marT="10688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 </a:t>
                      </a:r>
                    </a:p>
                  </a:txBody>
                  <a:tcPr marL="10688" marR="10688" marT="10688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 </a:t>
                      </a:r>
                    </a:p>
                  </a:txBody>
                  <a:tcPr marL="10688" marR="10688" marT="10688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3366"/>
                    </a:solidFill>
                  </a:tcPr>
                </a:tc>
              </a:tr>
              <a:tr h="7588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or the Fiscal Period Ending</a:t>
                      </a:r>
                      <a:b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 months</a:t>
                      </a:r>
                      <a:b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r-02-2013A</a:t>
                      </a:r>
                    </a:p>
                  </a:txBody>
                  <a:tcPr marL="10688" marR="10688" marT="106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TM²</a:t>
                      </a:r>
                      <a:b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 months</a:t>
                      </a:r>
                      <a:b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ug-31-2013A</a:t>
                      </a:r>
                    </a:p>
                  </a:txBody>
                  <a:tcPr marL="10688" marR="10688" marT="106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 months†</a:t>
                      </a:r>
                      <a:b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ug-28-2014E</a:t>
                      </a:r>
                    </a:p>
                  </a:txBody>
                  <a:tcPr marL="10688" marR="10688" marT="106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 months</a:t>
                      </a:r>
                      <a:b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ug-31-2015E</a:t>
                      </a:r>
                    </a:p>
                  </a:txBody>
                  <a:tcPr marL="10688" marR="10688" marT="106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 months</a:t>
                      </a:r>
                      <a:b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ug-31-2016E</a:t>
                      </a:r>
                    </a:p>
                  </a:txBody>
                  <a:tcPr marL="10688" marR="10688" marT="10688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</a:tr>
              <a:tr h="16017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urrency</a:t>
                      </a:r>
                    </a:p>
                  </a:txBody>
                  <a:tcPr marL="10688" marR="10688" marT="1068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SD</a:t>
                      </a:r>
                    </a:p>
                  </a:txBody>
                  <a:tcPr marL="10688" marR="10688" marT="106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SD</a:t>
                      </a:r>
                    </a:p>
                  </a:txBody>
                  <a:tcPr marL="10688" marR="10688" marT="106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SD</a:t>
                      </a:r>
                    </a:p>
                  </a:txBody>
                  <a:tcPr marL="10688" marR="10688" marT="106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SD</a:t>
                      </a:r>
                    </a:p>
                  </a:txBody>
                  <a:tcPr marL="10688" marR="10688" marT="106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SD</a:t>
                      </a:r>
                    </a:p>
                  </a:txBody>
                  <a:tcPr marL="10688" marR="10688" marT="10688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</a:tr>
              <a:tr h="160176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0688" marR="10688" marT="1068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0176">
                <a:tc>
                  <a:txBody>
                    <a:bodyPr/>
                    <a:lstStyle/>
                    <a:p>
                      <a:pPr algn="l" fontAlgn="t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 Revenue</a:t>
                      </a:r>
                    </a:p>
                  </a:txBody>
                  <a:tcPr marL="10688" marR="10688" marT="1068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11,073.0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10,048.0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40.42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8,324.2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8,960.6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0176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Growth Over Prior Year</a:t>
                      </a:r>
                    </a:p>
                  </a:txBody>
                  <a:tcPr marL="10688" marR="10688" marT="1068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(39.9%)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(33.1%)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(13.01%)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(4.76%)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7.65%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0176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0688" marR="10688" marT="1068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0176">
                <a:tc>
                  <a:txBody>
                    <a:bodyPr/>
                    <a:lstStyle/>
                    <a:p>
                      <a:pPr algn="l" fontAlgn="t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ross Profit</a:t>
                      </a:r>
                    </a:p>
                  </a:txBody>
                  <a:tcPr marL="10688" marR="10688" marT="1068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3,530.0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2,678.0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96.93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46.98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867.39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0176">
                <a:tc>
                  <a:txBody>
                    <a:bodyPr/>
                    <a:lstStyle/>
                    <a:p>
                      <a:pPr algn="l" fontAlgn="t"/>
                      <a:r>
                        <a:rPr lang="is-I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Margin %</a:t>
                      </a:r>
                    </a:p>
                  </a:txBody>
                  <a:tcPr marL="10688" marR="10688" marT="1068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31.9%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26.7%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.00%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3.00%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.00%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0176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0688" marR="10688" marT="1068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0176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BITDA</a:t>
                      </a:r>
                    </a:p>
                  </a:txBody>
                  <a:tcPr marL="10688" marR="10688" marT="1068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1,238.0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156.0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1,055.7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1,005.7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1,126.1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0176">
                <a:tc>
                  <a:txBody>
                    <a:bodyPr/>
                    <a:lstStyle/>
                    <a:p>
                      <a:pPr algn="l" fontAlgn="t"/>
                      <a:r>
                        <a:rPr lang="is-I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Margin %</a:t>
                      </a:r>
                    </a:p>
                  </a:txBody>
                  <a:tcPr marL="10688" marR="10688" marT="1068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11.2%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1.6%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12.1%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12.1%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12.6%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0176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0688" marR="10688" marT="1068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0176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BIT</a:t>
                      </a:r>
                    </a:p>
                  </a:txBody>
                  <a:tcPr marL="10688" marR="10688" marT="1068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(680.0) 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(1,525.0) 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85.28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435.3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555.7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0176">
                <a:tc>
                  <a:txBody>
                    <a:bodyPr/>
                    <a:lstStyle/>
                    <a:p>
                      <a:pPr algn="l" fontAlgn="t"/>
                      <a:r>
                        <a:rPr lang="is-I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Margin %</a:t>
                      </a:r>
                    </a:p>
                  </a:txBody>
                  <a:tcPr marL="10688" marR="10688" marT="1068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(6.1%)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(15.2%)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55%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23%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.20%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0176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0688" marR="10688" marT="1068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0176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arnings from Cont. Ops.</a:t>
                      </a:r>
                    </a:p>
                  </a:txBody>
                  <a:tcPr marL="10688" marR="10688" marT="1068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(628.0) 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(938.0) 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3.17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134.0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260.2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0176">
                <a:tc>
                  <a:txBody>
                    <a:bodyPr/>
                    <a:lstStyle/>
                    <a:p>
                      <a:pPr algn="l" fontAlgn="t"/>
                      <a:r>
                        <a:rPr lang="is-I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Margin %</a:t>
                      </a:r>
                    </a:p>
                  </a:txBody>
                  <a:tcPr marL="10688" marR="10688" marT="1068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(5.7%)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(9.3%)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07%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61%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90%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0176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0688" marR="10688" marT="1068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0176">
                <a:tc>
                  <a:txBody>
                    <a:bodyPr/>
                    <a:lstStyle/>
                    <a:p>
                      <a:pPr algn="l" fontAlgn="t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et Income</a:t>
                      </a:r>
                    </a:p>
                  </a:txBody>
                  <a:tcPr marL="10688" marR="10688" marT="1068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(646.0) 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(942.0) 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93.2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134.0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260.2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0176">
                <a:tc>
                  <a:txBody>
                    <a:bodyPr/>
                    <a:lstStyle/>
                    <a:p>
                      <a:pPr algn="l" fontAlgn="t"/>
                      <a:r>
                        <a:rPr lang="is-I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Margin %</a:t>
                      </a:r>
                    </a:p>
                  </a:txBody>
                  <a:tcPr marL="10688" marR="10688" marT="1068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(5.8%)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(9.4%) 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1%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6%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9%</a:t>
                      </a:r>
                    </a:p>
                  </a:txBody>
                  <a:tcPr marL="10688" marR="10688" marT="10688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3 Rectángulo"/>
          <p:cNvSpPr/>
          <p:nvPr/>
        </p:nvSpPr>
        <p:spPr>
          <a:xfrm>
            <a:off x="323850" y="650363"/>
            <a:ext cx="8496300" cy="35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GT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28600" y="0"/>
            <a:ext cx="8636009" cy="577850"/>
          </a:xfrm>
        </p:spPr>
        <p:txBody>
          <a:bodyPr>
            <a:noAutofit/>
          </a:bodyPr>
          <a:lstStyle/>
          <a:p>
            <a:pPr lvl="0" algn="l">
              <a:defRPr/>
            </a:pPr>
            <a:r>
              <a:rPr lang="en-US" sz="2400" b="1" dirty="0" smtClean="0">
                <a:solidFill>
                  <a:schemeClr val="tx2"/>
                </a:solidFill>
              </a:rPr>
              <a:t>Income Statement Projections</a:t>
            </a:r>
            <a:endParaRPr lang="en-US" sz="2400" b="1" dirty="0">
              <a:solidFill>
                <a:schemeClr val="tx2"/>
              </a:solidFill>
            </a:endParaRPr>
          </a:p>
        </p:txBody>
      </p:sp>
      <p:pic>
        <p:nvPicPr>
          <p:cNvPr id="8" name="Picture 7" descr="BB logo 4.jpg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43800" y="228600"/>
            <a:ext cx="1371600" cy="302383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EDCA8AD-8682-4585-8635-08C7AA2F5169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943181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17392" name="Rectangle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79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EDCA8AD-8682-4585-8635-08C7AA2F5169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31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-152400" y="31750"/>
            <a:ext cx="8636009" cy="577850"/>
          </a:xfrm>
        </p:spPr>
        <p:txBody>
          <a:bodyPr>
            <a:noAutofit/>
          </a:bodyPr>
          <a:lstStyle/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</a:pPr>
            <a:r>
              <a:rPr lang="en-US" sz="2000" b="1" dirty="0" smtClean="0">
                <a:solidFill>
                  <a:schemeClr val="tx2"/>
                </a:solidFill>
              </a:rPr>
              <a:t>Measures </a:t>
            </a:r>
            <a:r>
              <a:rPr lang="en-US" sz="2000" b="1" dirty="0">
                <a:solidFill>
                  <a:schemeClr val="tx2"/>
                </a:solidFill>
              </a:rPr>
              <a:t>to measure turnaround </a:t>
            </a:r>
            <a:r>
              <a:rPr lang="en-US" sz="2000" b="1" dirty="0" smtClean="0">
                <a:solidFill>
                  <a:schemeClr val="tx2"/>
                </a:solidFill>
              </a:rPr>
              <a:t>success</a:t>
            </a:r>
            <a:endParaRPr lang="en-US" sz="2000" b="1" dirty="0">
              <a:solidFill>
                <a:schemeClr val="tx2"/>
              </a:solidFill>
            </a:endParaRPr>
          </a:p>
        </p:txBody>
      </p:sp>
      <p:sp>
        <p:nvSpPr>
          <p:cNvPr id="8" name="3 Rectángulo"/>
          <p:cNvSpPr/>
          <p:nvPr/>
        </p:nvSpPr>
        <p:spPr>
          <a:xfrm>
            <a:off x="323850" y="650363"/>
            <a:ext cx="8496300" cy="35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GT"/>
          </a:p>
        </p:txBody>
      </p:sp>
      <p:sp>
        <p:nvSpPr>
          <p:cNvPr id="10" name="TextBox 9"/>
          <p:cNvSpPr txBox="1"/>
          <p:nvPr/>
        </p:nvSpPr>
        <p:spPr>
          <a:xfrm>
            <a:off x="2209800" y="1452265"/>
            <a:ext cx="4343400" cy="335476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2000" dirty="0" smtClean="0"/>
              <a:t>Increase in Revenues</a:t>
            </a:r>
          </a:p>
          <a:p>
            <a:pPr marL="742950" lvl="1" indent="-285750">
              <a:buFont typeface="Arial"/>
              <a:buChar char="•"/>
            </a:pPr>
            <a:r>
              <a:rPr lang="en-US" sz="2000" dirty="0" smtClean="0"/>
              <a:t>Devices</a:t>
            </a:r>
          </a:p>
          <a:p>
            <a:pPr marL="742950" lvl="1" indent="-285750">
              <a:buFont typeface="Arial"/>
              <a:buChar char="•"/>
            </a:pPr>
            <a:r>
              <a:rPr lang="en-US" sz="2000" dirty="0" smtClean="0"/>
              <a:t>Services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 smtClean="0"/>
              <a:t>Profits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 smtClean="0"/>
              <a:t>Altman Z value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 smtClean="0"/>
              <a:t>Increase in Brand perception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 smtClean="0"/>
              <a:t>Employee satisfaction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 smtClean="0"/>
              <a:t>Return on Equity</a:t>
            </a:r>
            <a:endParaRPr lang="en-US" dirty="0"/>
          </a:p>
          <a:p>
            <a:pPr marL="285750" indent="-285750">
              <a:buFont typeface="Arial"/>
              <a:buChar char="•"/>
            </a:pPr>
            <a:endParaRPr lang="en-US" dirty="0" smtClean="0"/>
          </a:p>
          <a:p>
            <a:pPr marL="742950" lvl="1" indent="-285750">
              <a:buFont typeface="Arial"/>
              <a:buChar char="•"/>
            </a:pPr>
            <a:endParaRPr lang="en-US" dirty="0"/>
          </a:p>
          <a:p>
            <a:pPr marL="285750" indent="-285750">
              <a:buFont typeface="Arial"/>
              <a:buChar char="•"/>
            </a:pP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2209800" y="990600"/>
            <a:ext cx="2159365" cy="46166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400" dirty="0" smtClean="0"/>
              <a:t>Success Metrics</a:t>
            </a:r>
          </a:p>
        </p:txBody>
      </p:sp>
      <p:pic>
        <p:nvPicPr>
          <p:cNvPr id="12" name="Picture 11" descr="BB logo 4.jpg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43800" y="228600"/>
            <a:ext cx="1371600" cy="302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70873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>
          <a:xfrm>
            <a:off x="3706813" y="1828800"/>
            <a:ext cx="5132387" cy="914400"/>
          </a:xfrm>
        </p:spPr>
        <p:txBody>
          <a:bodyPr>
            <a:noAutofit/>
          </a:bodyPr>
          <a:lstStyle/>
          <a:p>
            <a:pPr algn="l" defTabSz="895350" fontAlgn="base">
              <a:spcAft>
                <a:spcPct val="0"/>
              </a:spcAft>
            </a:pPr>
            <a:r>
              <a:rPr lang="en-US" sz="3200" b="1" dirty="0" smtClean="0">
                <a:solidFill>
                  <a:schemeClr val="tx2"/>
                </a:solidFill>
              </a:rPr>
              <a:t>Questions?</a:t>
            </a:r>
            <a:endParaRPr lang="en-US" sz="3200" b="1" dirty="0">
              <a:solidFill>
                <a:schemeClr val="tx2"/>
              </a:solidFill>
            </a:endParaRPr>
          </a:p>
        </p:txBody>
      </p:sp>
      <p:sp>
        <p:nvSpPr>
          <p:cNvPr id="9" name="McK Date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827463" y="5181600"/>
            <a:ext cx="4935537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r>
              <a:rPr lang="en-US" sz="1400" b="1" dirty="0" smtClean="0">
                <a:solidFill>
                  <a:schemeClr val="bg1">
                    <a:lumMod val="50000"/>
                  </a:schemeClr>
                </a:solidFill>
              </a:rPr>
              <a:t>Managing Turnaround Companies</a:t>
            </a:r>
            <a:endParaRPr lang="en-US" sz="1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4" name="Picture 13" descr="BB logo 4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810000" y="5562600"/>
            <a:ext cx="2073843" cy="457200"/>
          </a:xfrm>
          <a:prstGeom prst="rect">
            <a:avLst/>
          </a:prstGeom>
        </p:spPr>
      </p:pic>
      <p:grpSp>
        <p:nvGrpSpPr>
          <p:cNvPr id="2" name="Group 23"/>
          <p:cNvGrpSpPr/>
          <p:nvPr/>
        </p:nvGrpSpPr>
        <p:grpSpPr>
          <a:xfrm>
            <a:off x="304800" y="462058"/>
            <a:ext cx="3445933" cy="5733942"/>
            <a:chOff x="304800" y="462058"/>
            <a:chExt cx="3445933" cy="5733942"/>
          </a:xfrm>
        </p:grpSpPr>
        <p:pic>
          <p:nvPicPr>
            <p:cNvPr id="15" name="Picture 14" descr="BB ad 1.jpg"/>
            <p:cNvPicPr>
              <a:picLocks noChangeAspect="1"/>
            </p:cNvPicPr>
            <p:nvPr/>
          </p:nvPicPr>
          <p:blipFill>
            <a:blip r:embed="rId5" cstate="print">
              <a:grayscl/>
            </a:blip>
            <a:srcRect l="30056"/>
            <a:stretch>
              <a:fillRect/>
            </a:stretch>
          </p:blipFill>
          <p:spPr>
            <a:xfrm>
              <a:off x="381000" y="2590800"/>
              <a:ext cx="1418614" cy="1447800"/>
            </a:xfrm>
            <a:prstGeom prst="rect">
              <a:avLst/>
            </a:prstGeom>
            <a:ln w="76200">
              <a:solidFill>
                <a:schemeClr val="bg1"/>
              </a:solidFill>
            </a:ln>
          </p:spPr>
        </p:pic>
        <p:pic>
          <p:nvPicPr>
            <p:cNvPr id="18" name="Picture 17" descr="la-fi-tn-rim-blackberry-rename-20130130-001.jpg"/>
            <p:cNvPicPr>
              <a:picLocks noChangeAspect="1"/>
            </p:cNvPicPr>
            <p:nvPr/>
          </p:nvPicPr>
          <p:blipFill>
            <a:blip r:embed="rId6">
              <a:grayscl/>
            </a:blip>
            <a:stretch>
              <a:fillRect/>
            </a:stretch>
          </p:blipFill>
          <p:spPr>
            <a:xfrm>
              <a:off x="1707478" y="4876800"/>
              <a:ext cx="1978800" cy="1319200"/>
            </a:xfrm>
            <a:prstGeom prst="rect">
              <a:avLst/>
            </a:prstGeom>
            <a:ln w="76200">
              <a:solidFill>
                <a:schemeClr val="bg1"/>
              </a:solidFill>
            </a:ln>
          </p:spPr>
        </p:pic>
        <p:pic>
          <p:nvPicPr>
            <p:cNvPr id="16" name="Picture 15" descr="BB enterprise.jpg"/>
            <p:cNvPicPr>
              <a:picLocks noChangeAspect="1"/>
            </p:cNvPicPr>
            <p:nvPr/>
          </p:nvPicPr>
          <p:blipFill>
            <a:blip r:embed="rId7">
              <a:grayscl/>
            </a:blip>
            <a:srcRect r="39512"/>
            <a:stretch>
              <a:fillRect/>
            </a:stretch>
          </p:blipFill>
          <p:spPr>
            <a:xfrm>
              <a:off x="2057400" y="3048000"/>
              <a:ext cx="1693333" cy="1828800"/>
            </a:xfrm>
            <a:prstGeom prst="rect">
              <a:avLst/>
            </a:prstGeom>
            <a:ln w="76200">
              <a:solidFill>
                <a:schemeClr val="bg1"/>
              </a:solidFill>
            </a:ln>
          </p:spPr>
        </p:pic>
        <p:pic>
          <p:nvPicPr>
            <p:cNvPr id="17" name="Picture 16" descr="blackberry_train.jpg"/>
            <p:cNvPicPr>
              <a:picLocks noChangeAspect="1"/>
            </p:cNvPicPr>
            <p:nvPr/>
          </p:nvPicPr>
          <p:blipFill>
            <a:blip r:embed="rId8">
              <a:grayscl/>
            </a:blip>
            <a:stretch>
              <a:fillRect/>
            </a:stretch>
          </p:blipFill>
          <p:spPr>
            <a:xfrm>
              <a:off x="304800" y="4152900"/>
              <a:ext cx="2019300" cy="2019300"/>
            </a:xfrm>
            <a:prstGeom prst="rect">
              <a:avLst/>
            </a:prstGeom>
            <a:ln w="76200">
              <a:solidFill>
                <a:schemeClr val="bg1"/>
              </a:solidFill>
            </a:ln>
          </p:spPr>
        </p:pic>
        <p:pic>
          <p:nvPicPr>
            <p:cNvPr id="20" name="Picture 19" descr="Blackberry_10_launch_apps_Volt.png"/>
            <p:cNvPicPr>
              <a:picLocks noChangeAspect="1"/>
            </p:cNvPicPr>
            <p:nvPr/>
          </p:nvPicPr>
          <p:blipFill>
            <a:blip r:embed="rId9">
              <a:grayscl/>
            </a:blip>
            <a:stretch>
              <a:fillRect/>
            </a:stretch>
          </p:blipFill>
          <p:spPr>
            <a:xfrm>
              <a:off x="381000" y="500158"/>
              <a:ext cx="3352800" cy="1862042"/>
            </a:xfrm>
            <a:prstGeom prst="rect">
              <a:avLst/>
            </a:prstGeom>
            <a:ln w="76200">
              <a:solidFill>
                <a:schemeClr val="bg1"/>
              </a:solidFill>
            </a:ln>
          </p:spPr>
        </p:pic>
        <p:pic>
          <p:nvPicPr>
            <p:cNvPr id="21" name="Picture 20" descr="BB ad 1.jpg"/>
            <p:cNvPicPr>
              <a:picLocks noChangeAspect="1"/>
            </p:cNvPicPr>
            <p:nvPr/>
          </p:nvPicPr>
          <p:blipFill>
            <a:blip r:embed="rId5" cstate="print">
              <a:grayscl/>
            </a:blip>
            <a:srcRect l="30056"/>
            <a:stretch>
              <a:fillRect/>
            </a:stretch>
          </p:blipFill>
          <p:spPr>
            <a:xfrm>
              <a:off x="304800" y="2552700"/>
              <a:ext cx="1418614" cy="1447800"/>
            </a:xfrm>
            <a:prstGeom prst="rect">
              <a:avLst/>
            </a:prstGeom>
            <a:ln w="76200">
              <a:solidFill>
                <a:schemeClr val="bg1"/>
              </a:solidFill>
            </a:ln>
          </p:spPr>
        </p:pic>
        <p:pic>
          <p:nvPicPr>
            <p:cNvPr id="22" name="Picture 21" descr="blackberry_train.jpg"/>
            <p:cNvPicPr>
              <a:picLocks noChangeAspect="1"/>
            </p:cNvPicPr>
            <p:nvPr/>
          </p:nvPicPr>
          <p:blipFill>
            <a:blip r:embed="rId8">
              <a:grayscl/>
            </a:blip>
            <a:stretch>
              <a:fillRect/>
            </a:stretch>
          </p:blipFill>
          <p:spPr>
            <a:xfrm>
              <a:off x="304800" y="4176700"/>
              <a:ext cx="2019300" cy="2019300"/>
            </a:xfrm>
            <a:prstGeom prst="rect">
              <a:avLst/>
            </a:prstGeom>
            <a:ln w="76200">
              <a:solidFill>
                <a:schemeClr val="bg1"/>
              </a:solidFill>
            </a:ln>
          </p:spPr>
        </p:pic>
        <p:pic>
          <p:nvPicPr>
            <p:cNvPr id="23" name="Picture 22" descr="Blackberry_10_launch_apps_Volt.png"/>
            <p:cNvPicPr>
              <a:picLocks noChangeAspect="1"/>
            </p:cNvPicPr>
            <p:nvPr/>
          </p:nvPicPr>
          <p:blipFill>
            <a:blip r:embed="rId9">
              <a:grayscl/>
            </a:blip>
            <a:stretch>
              <a:fillRect/>
            </a:stretch>
          </p:blipFill>
          <p:spPr>
            <a:xfrm>
              <a:off x="304800" y="462058"/>
              <a:ext cx="3352800" cy="1862042"/>
            </a:xfrm>
            <a:prstGeom prst="rect">
              <a:avLst/>
            </a:prstGeom>
            <a:ln w="76200">
              <a:solidFill>
                <a:schemeClr val="bg1"/>
              </a:solidFill>
            </a:ln>
          </p:spPr>
        </p:pic>
        <p:pic>
          <p:nvPicPr>
            <p:cNvPr id="19" name="Picture 18" descr="14bits-blackberry-heins-hpMedium.jpg"/>
            <p:cNvPicPr>
              <a:picLocks noChangeAspect="1"/>
            </p:cNvPicPr>
            <p:nvPr/>
          </p:nvPicPr>
          <p:blipFill>
            <a:blip r:embed="rId10">
              <a:grayscl/>
            </a:blip>
            <a:stretch>
              <a:fillRect/>
            </a:stretch>
          </p:blipFill>
          <p:spPr>
            <a:xfrm>
              <a:off x="1828800" y="1905000"/>
              <a:ext cx="1857478" cy="1394487"/>
            </a:xfrm>
            <a:prstGeom prst="rect">
              <a:avLst/>
            </a:prstGeom>
            <a:ln w="76200">
              <a:solidFill>
                <a:schemeClr val="bg1"/>
              </a:solidFill>
            </a:ln>
          </p:spPr>
        </p:pic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hibits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7585655"/>
              </p:ext>
            </p:extLst>
          </p:nvPr>
        </p:nvGraphicFramePr>
        <p:xfrm>
          <a:off x="1295400" y="1752601"/>
          <a:ext cx="6172201" cy="3312889"/>
        </p:xfrm>
        <a:graphic>
          <a:graphicData uri="http://schemas.openxmlformats.org/drawingml/2006/table">
            <a:tbl>
              <a:tblPr/>
              <a:tblGrid>
                <a:gridCol w="2602972"/>
                <a:gridCol w="2248022"/>
                <a:gridCol w="1321207"/>
              </a:tblGrid>
              <a:tr h="464094">
                <a:tc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600" b="1" i="0" u="sng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iquidation </a:t>
                      </a:r>
                      <a:r>
                        <a:rPr lang="fr-FR" sz="1600" b="1" i="0" u="sng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Value</a:t>
                      </a:r>
                    </a:p>
                    <a:p>
                      <a:pPr algn="ctr" fontAlgn="b"/>
                      <a:endParaRPr lang="fr-FR" sz="1600" b="1" i="0" u="sng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%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17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sh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2,344.0 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2700" marR="12700" marT="1270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AEEF3"/>
                    </a:solidFill>
                  </a:tcPr>
                </a:tc>
              </a:tr>
              <a:tr h="4017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/R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1,699.60 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0%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0178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ventory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141.15 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%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EF3"/>
                    </a:solidFill>
                  </a:tcPr>
                </a:tc>
              </a:tr>
              <a:tr h="4017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et PP&amp;E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529.75 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%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017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ther Intangibles</a:t>
                      </a:r>
                    </a:p>
                  </a:txBody>
                  <a:tcPr marL="12700" marR="12700" marT="1270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1,051.5 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%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</a:tr>
              <a:tr h="401787"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401787"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sng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 Liquidation Value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5,766.0 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73122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2362512"/>
              </p:ext>
            </p:extLst>
          </p:nvPr>
        </p:nvGraphicFramePr>
        <p:xfrm>
          <a:off x="192605" y="152400"/>
          <a:ext cx="8915401" cy="6553206"/>
        </p:xfrm>
        <a:graphic>
          <a:graphicData uri="http://schemas.openxmlformats.org/drawingml/2006/table">
            <a:tbl>
              <a:tblPr/>
              <a:tblGrid>
                <a:gridCol w="4011932"/>
                <a:gridCol w="1114425"/>
                <a:gridCol w="817245"/>
                <a:gridCol w="817245"/>
                <a:gridCol w="846190"/>
                <a:gridCol w="694707"/>
                <a:gridCol w="613657"/>
              </a:tblGrid>
              <a:tr h="15002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effectLst/>
                          <a:latin typeface="Verdana"/>
                        </a:rPr>
                        <a:t>BlackBerry Limited Financial Key Stats</a:t>
                      </a:r>
                    </a:p>
                  </a:txBody>
                  <a:tcPr marL="8530" marR="8530" marT="853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b"/>
                      <a:r>
                        <a:rPr lang="it-IT" sz="900" b="1" i="0" u="none" strike="noStrike">
                          <a:effectLst/>
                          <a:latin typeface="Verdana"/>
                        </a:rPr>
                        <a:t>Income Statement</a:t>
                      </a:r>
                    </a:p>
                  </a:txBody>
                  <a:tcPr marL="8530" marR="8530" marT="853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effectLst/>
                          <a:latin typeface="Verdana"/>
                        </a:rPr>
                        <a:t> 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effectLst/>
                          <a:latin typeface="Verdana"/>
                        </a:rPr>
                        <a:t> 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effectLst/>
                          <a:latin typeface="Verdana"/>
                        </a:rPr>
                        <a:t> 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effectLst/>
                          <a:latin typeface="Verdana"/>
                        </a:rPr>
                        <a:t> 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effectLst/>
                          <a:latin typeface="Verdana"/>
                        </a:rPr>
                        <a:t> 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effectLst/>
                          <a:latin typeface="Verdana"/>
                        </a:rPr>
                        <a:t> 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66"/>
                    </a:solidFill>
                  </a:tcPr>
                </a:tc>
              </a:tr>
              <a:tr h="5762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effectLst/>
                          <a:latin typeface="Arial"/>
                        </a:rPr>
                        <a:t>For the Fiscal Period Ending</a:t>
                      </a:r>
                      <a:br>
                        <a:rPr lang="en-US" sz="900" b="1" i="0" u="none" strike="noStrike" dirty="0">
                          <a:effectLst/>
                          <a:latin typeface="Arial"/>
                        </a:rPr>
                      </a:br>
                      <a:endParaRPr lang="en-US" sz="900" b="1" i="0" u="none" strike="noStrike" dirty="0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Reclassified</a:t>
                      </a:r>
                      <a:br>
                        <a:rPr lang="en-US" sz="900" b="1" i="0" u="none" strike="noStrike">
                          <a:effectLst/>
                          <a:latin typeface="Arial"/>
                        </a:rPr>
                      </a:br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12 months</a:t>
                      </a:r>
                      <a:br>
                        <a:rPr lang="en-US" sz="900" b="1" i="0" u="none" strike="noStrike">
                          <a:effectLst/>
                          <a:latin typeface="Arial"/>
                        </a:rPr>
                      </a:br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Mar-03-2012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12 months</a:t>
                      </a:r>
                      <a:br>
                        <a:rPr lang="en-US" sz="900" b="1" i="0" u="none" strike="noStrike">
                          <a:effectLst/>
                          <a:latin typeface="Arial"/>
                        </a:rPr>
                      </a:br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Mar-02-2013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LTM</a:t>
                      </a:r>
                      <a:br>
                        <a:rPr lang="en-US" sz="900" b="1" i="0" u="none" strike="noStrike">
                          <a:effectLst/>
                          <a:latin typeface="Arial"/>
                        </a:rPr>
                      </a:br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12 months</a:t>
                      </a:r>
                      <a:br>
                        <a:rPr lang="en-US" sz="900" b="1" i="0" u="none" strike="noStrike">
                          <a:effectLst/>
                          <a:latin typeface="Arial"/>
                        </a:rPr>
                      </a:br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Aug-31-2013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2014 LTM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2015 LTM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2016 LTM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1" u="none" strike="noStrike">
                          <a:effectLst/>
                          <a:latin typeface="Arial"/>
                        </a:rPr>
                        <a:t>Currency</a:t>
                      </a:r>
                    </a:p>
                  </a:txBody>
                  <a:tcPr marL="8530" marR="8530" marT="853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1" u="none" strike="noStrike">
                          <a:effectLst/>
                          <a:latin typeface="Arial"/>
                        </a:rPr>
                        <a:t>USD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1" u="none" strike="noStrike">
                          <a:effectLst/>
                          <a:latin typeface="Arial"/>
                        </a:rPr>
                        <a:t>USD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1" u="none" strike="noStrike">
                          <a:effectLst/>
                          <a:latin typeface="Arial"/>
                        </a:rPr>
                        <a:t>USD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1" u="none" strike="noStrike">
                          <a:effectLst/>
                          <a:latin typeface="Arial"/>
                        </a:rPr>
                        <a:t>USD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1" u="none" strike="noStrike">
                          <a:effectLst/>
                          <a:latin typeface="Arial"/>
                        </a:rPr>
                        <a:t>USD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1" u="none" strike="noStrike">
                          <a:effectLst/>
                          <a:latin typeface="Arial"/>
                        </a:rPr>
                        <a:t>USD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t"/>
                      <a:r>
                        <a:rPr lang="fr-FR" sz="900" b="0" i="0" u="none" strike="noStrike">
                          <a:effectLst/>
                          <a:latin typeface="Arial"/>
                        </a:rPr>
                        <a:t>Revenue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 18,423.0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 11,073.0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 10,048.0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8740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8324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8961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Revenues from Devices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 13,794.0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 6,648.0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4321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3673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3857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Revenues from Devices(%)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-52%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-35%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-15%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5%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Revenues from Services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 4,074.0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US" sz="900" b="0" i="0" u="none" strike="noStrike" dirty="0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 3,910.0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3910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4106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4516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Revenues from Services(%)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-4%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0%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5%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10%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Revenues from Software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 318.0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 261.0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235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247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259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Revenues from Software(%)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-18%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-10%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5%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5%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Revenues from Other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 237.0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 254.0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274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299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329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Revenues from others Growth(%)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7%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8%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9%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10%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t"/>
                      <a:r>
                        <a:rPr lang="fr-FR" sz="900" b="1" i="0" u="none" strike="noStrike">
                          <a:effectLst/>
                          <a:latin typeface="Arial"/>
                        </a:rPr>
                        <a:t>  Total Revenue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18,423.0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11,073.0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10,048.0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8,740.4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8,324.2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8,960.6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900" b="1" i="0" u="none" strike="noStrike">
                          <a:effectLst/>
                          <a:latin typeface="Verdana"/>
                        </a:rPr>
                        <a:t>Key Financials¹</a:t>
                      </a:r>
                    </a:p>
                  </a:txBody>
                  <a:tcPr marL="8530" marR="8530" marT="853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effectLst/>
                          <a:latin typeface="Verdana"/>
                        </a:rPr>
                        <a:t> 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effectLst/>
                          <a:latin typeface="Verdana"/>
                        </a:rPr>
                        <a:t> 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effectLst/>
                          <a:latin typeface="Verdana"/>
                        </a:rPr>
                        <a:t> 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effectLst/>
                          <a:latin typeface="Verdana"/>
                        </a:rPr>
                        <a:t> 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effectLst/>
                          <a:latin typeface="Verdana"/>
                        </a:rPr>
                        <a:t> 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effectLst/>
                          <a:latin typeface="Verdana"/>
                        </a:rPr>
                        <a:t> 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66"/>
                    </a:solidFill>
                  </a:tcPr>
                </a:tc>
              </a:tr>
              <a:tr h="5762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effectLst/>
                          <a:latin typeface="Arial"/>
                        </a:rPr>
                        <a:t>For the Fiscal Period Ending</a:t>
                      </a:r>
                      <a:br>
                        <a:rPr lang="en-US" sz="900" b="1" i="0" u="none" strike="noStrike" dirty="0">
                          <a:effectLst/>
                          <a:latin typeface="Arial"/>
                        </a:rPr>
                      </a:br>
                      <a:endParaRPr lang="en-US" sz="900" b="1" i="0" u="none" strike="noStrike" dirty="0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12 months</a:t>
                      </a:r>
                      <a:br>
                        <a:rPr lang="en-US" sz="900" b="1" i="0" u="none" strike="noStrike">
                          <a:effectLst/>
                          <a:latin typeface="Arial"/>
                        </a:rPr>
                      </a:br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Mar-02-2013A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LTM²</a:t>
                      </a:r>
                      <a:br>
                        <a:rPr lang="en-US" sz="900" b="1" i="0" u="none" strike="noStrike">
                          <a:effectLst/>
                          <a:latin typeface="Arial"/>
                        </a:rPr>
                      </a:br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12 months</a:t>
                      </a:r>
                      <a:br>
                        <a:rPr lang="en-US" sz="900" b="1" i="0" u="none" strike="noStrike">
                          <a:effectLst/>
                          <a:latin typeface="Arial"/>
                        </a:rPr>
                      </a:br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Aug-31-2013A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12 months†</a:t>
                      </a:r>
                      <a:br>
                        <a:rPr lang="en-US" sz="900" b="1" i="0" u="none" strike="noStrike">
                          <a:effectLst/>
                          <a:latin typeface="Arial"/>
                        </a:rPr>
                      </a:br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Aug-28-2014E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12 months</a:t>
                      </a:r>
                      <a:br>
                        <a:rPr lang="en-US" sz="900" b="1" i="0" u="none" strike="noStrike">
                          <a:effectLst/>
                          <a:latin typeface="Arial"/>
                        </a:rPr>
                      </a:br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Aug-31-2015E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12 months</a:t>
                      </a:r>
                      <a:br>
                        <a:rPr lang="en-US" sz="900" b="1" i="0" u="none" strike="noStrike">
                          <a:effectLst/>
                          <a:latin typeface="Arial"/>
                        </a:rPr>
                      </a:br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Aug-31-2016E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1" u="none" strike="noStrike">
                          <a:effectLst/>
                          <a:latin typeface="Arial"/>
                        </a:rPr>
                        <a:t>Currency</a:t>
                      </a:r>
                    </a:p>
                  </a:txBody>
                  <a:tcPr marL="8530" marR="8530" marT="853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1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1" u="none" strike="noStrike">
                          <a:effectLst/>
                          <a:latin typeface="Arial"/>
                        </a:rPr>
                        <a:t>USD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1" u="none" strike="noStrike">
                          <a:effectLst/>
                          <a:latin typeface="Arial"/>
                        </a:rPr>
                        <a:t>USD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1" u="none" strike="noStrike">
                          <a:effectLst/>
                          <a:latin typeface="Arial"/>
                        </a:rPr>
                        <a:t>USD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1" u="none" strike="noStrike">
                          <a:effectLst/>
                          <a:latin typeface="Arial"/>
                        </a:rPr>
                        <a:t>USD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1" u="none" strike="noStrike">
                          <a:effectLst/>
                          <a:latin typeface="Arial"/>
                        </a:rPr>
                        <a:t>USD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t"/>
                      <a:r>
                        <a:rPr lang="fr-FR" sz="900" b="1" i="0" u="none" strike="noStrike">
                          <a:effectLst/>
                          <a:latin typeface="Arial"/>
                        </a:rPr>
                        <a:t>Total Revenue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11,073.0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10,048.0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8740.42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8,324.2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8,960.6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  Growth Over Prior Year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 (39.9%)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 (33.1%)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 (13.01%)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 (4.76%)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 7.65%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t"/>
                      <a:r>
                        <a:rPr lang="cs-CZ" sz="900" b="1" i="0" u="none" strike="noStrike">
                          <a:effectLst/>
                          <a:latin typeface="Arial"/>
                        </a:rPr>
                        <a:t>Gross Profit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3,530.0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2,678.0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2796.93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2746.98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2867.39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t"/>
                      <a:r>
                        <a:rPr lang="is-IS" sz="900" b="0" i="1" u="none" strike="noStrike">
                          <a:effectLst/>
                          <a:latin typeface="Arial"/>
                        </a:rPr>
                        <a:t>  Margin %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 31.9%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 26.7%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32.00%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33.00%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32.00%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EBITDA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1,238.0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156.0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1,055.7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1,005.7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1,126.1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t"/>
                      <a:r>
                        <a:rPr lang="is-IS" sz="900" b="0" i="1" u="none" strike="noStrike">
                          <a:effectLst/>
                          <a:latin typeface="Arial"/>
                        </a:rPr>
                        <a:t>  Margin %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 11.2%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 1.6%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 12.1%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 12.1%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 12.6%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EBIT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(680.0) 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(1,525.0) 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485.28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435.3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555.7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t"/>
                      <a:r>
                        <a:rPr lang="is-IS" sz="900" b="0" i="1" u="none" strike="noStrike">
                          <a:effectLst/>
                          <a:latin typeface="Arial"/>
                        </a:rPr>
                        <a:t>  Margin %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 (6.1%)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 (15.2%)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5.55%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5.23%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6.20%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Earnings from Cont. Ops.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(628.0) 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(938.0) 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93.17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134.0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260.2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t"/>
                      <a:r>
                        <a:rPr lang="is-IS" sz="900" b="0" i="1" u="none" strike="noStrike">
                          <a:effectLst/>
                          <a:latin typeface="Arial"/>
                        </a:rPr>
                        <a:t>  Margin %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 (5.7%)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 (9.3%)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1.07%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1.61%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2.90%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t"/>
                      <a:r>
                        <a:rPr lang="it-IT" sz="900" b="1" i="0" u="none" strike="noStrike">
                          <a:effectLst/>
                          <a:latin typeface="Arial"/>
                        </a:rPr>
                        <a:t>Net Income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</a:endParaRP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(646.0) 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(942.0) 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93.2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134.0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</a:rPr>
                        <a:t> 260.2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021">
                <a:tc>
                  <a:txBody>
                    <a:bodyPr/>
                    <a:lstStyle/>
                    <a:p>
                      <a:pPr algn="l" fontAlgn="t"/>
                      <a:r>
                        <a:rPr lang="is-IS" sz="900" b="0" i="1" u="none" strike="noStrike">
                          <a:effectLst/>
                          <a:latin typeface="Arial"/>
                        </a:rPr>
                        <a:t>  Margin %</a:t>
                      </a:r>
                    </a:p>
                  </a:txBody>
                  <a:tcPr marL="8530" marR="8530" marT="853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30" marR="8530" marT="85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 (5.8%)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 (9.4%) 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1.1%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>
                          <a:effectLst/>
                          <a:latin typeface="Arial"/>
                        </a:rPr>
                        <a:t>1.6%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1" u="none" strike="noStrike" dirty="0">
                          <a:effectLst/>
                          <a:latin typeface="Arial"/>
                        </a:rPr>
                        <a:t>2.9%</a:t>
                      </a:r>
                    </a:p>
                  </a:txBody>
                  <a:tcPr marL="8530" marR="8530" marT="853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1034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52200" y="3581400"/>
            <a:ext cx="2772000" cy="272117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077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200400" y="3581400"/>
            <a:ext cx="2772000" cy="272117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078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200400" y="767759"/>
            <a:ext cx="2772000" cy="272117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079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019800" y="3581400"/>
            <a:ext cx="2772000" cy="272117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080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019800" y="767759"/>
            <a:ext cx="2772000" cy="272117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081" name="Rectangle 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52200" y="767759"/>
            <a:ext cx="2772000" cy="272117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3083" name="Rectangle 9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>
          <a:xfrm>
            <a:off x="353935" y="928078"/>
            <a:ext cx="2389265" cy="748322"/>
          </a:xfrm>
        </p:spPr>
        <p:txBody>
          <a:bodyPr>
            <a:noAutofit/>
          </a:bodyPr>
          <a:lstStyle/>
          <a:p>
            <a:pPr marL="0" lvl="1" indent="-228600" defTabSz="913526">
              <a:buSzPct val="120000"/>
              <a:buNone/>
            </a:pPr>
            <a:r>
              <a:rPr lang="en-US" sz="1600" b="1" dirty="0" smtClean="0"/>
              <a:t>Canadian maker of Wireless communication products formed in 1984</a:t>
            </a:r>
          </a:p>
          <a:p>
            <a:pPr marL="0" lvl="1" indent="-228600" defTabSz="913526">
              <a:buSzPct val="120000"/>
              <a:buNone/>
            </a:pPr>
            <a:r>
              <a:rPr lang="en-US" sz="1600" b="1" dirty="0" smtClean="0"/>
              <a:t>First product was the Blackberry pager in 1999</a:t>
            </a:r>
          </a:p>
        </p:txBody>
      </p:sp>
      <p:graphicFrame>
        <p:nvGraphicFramePr>
          <p:cNvPr id="3074" name="Rectangle 13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19" r:id="rId17" imgW="0" imgH="0" progId="">
                  <p:embed/>
                </p:oleObj>
              </mc:Choice>
              <mc:Fallback>
                <p:oleObj r:id="rId17" imgW="0" imgH="0" progId="">
                  <p:embed/>
                  <p:pic>
                    <p:nvPicPr>
                      <p:cNvPr id="0" name="AutoShape 8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85" name="Rectangle 1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383847" y="1007482"/>
            <a:ext cx="2389264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13526">
              <a:buSzPct val="120000"/>
            </a:pPr>
            <a:r>
              <a:rPr lang="en-US" sz="1600" b="1" dirty="0" smtClean="0">
                <a:solidFill>
                  <a:schemeClr val="bg1"/>
                </a:solidFill>
              </a:rPr>
              <a:t>Launched phones which combined features of phone and PDA </a:t>
            </a:r>
          </a:p>
        </p:txBody>
      </p:sp>
      <p:sp>
        <p:nvSpPr>
          <p:cNvPr id="3086" name="Rectangle 1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280122" y="1007482"/>
            <a:ext cx="2389264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defTabSz="913526">
              <a:buSzPct val="120000"/>
            </a:pPr>
            <a:r>
              <a:rPr lang="en-US" sz="1600" b="1" dirty="0" smtClean="0">
                <a:solidFill>
                  <a:schemeClr val="bg1"/>
                </a:solidFill>
              </a:rPr>
              <a:t>Enterprise software and Security features </a:t>
            </a:r>
          </a:p>
        </p:txBody>
      </p:sp>
      <p:sp>
        <p:nvSpPr>
          <p:cNvPr id="3087" name="Rectangle 16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85953" y="4703802"/>
            <a:ext cx="2638247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913526">
              <a:buSzPct val="120000"/>
            </a:pPr>
            <a:r>
              <a:rPr lang="en-US" sz="1600" b="1" dirty="0" smtClean="0"/>
              <a:t>Undisputed leader of govt. and Business communication by 2000 </a:t>
            </a:r>
          </a:p>
          <a:p>
            <a:pPr defTabSz="913526">
              <a:buSzPct val="120000"/>
            </a:pPr>
            <a:endParaRPr lang="en-US" sz="1600" b="1" dirty="0" smtClean="0"/>
          </a:p>
          <a:p>
            <a:pPr defTabSz="913526">
              <a:buSzPct val="120000"/>
            </a:pPr>
            <a:r>
              <a:rPr lang="en-US" sz="1600" b="1" dirty="0" smtClean="0"/>
              <a:t>Enters consumer market</a:t>
            </a:r>
          </a:p>
          <a:p>
            <a:pPr defTabSz="913526">
              <a:buSzPct val="120000"/>
            </a:pPr>
            <a:endParaRPr lang="en-US" sz="1600" b="1" dirty="0" smtClean="0"/>
          </a:p>
        </p:txBody>
      </p:sp>
      <p:sp>
        <p:nvSpPr>
          <p:cNvPr id="3088" name="Rectangle 17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352800" y="5257800"/>
            <a:ext cx="2389264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13526">
              <a:buSzPct val="120000"/>
            </a:pPr>
            <a:r>
              <a:rPr lang="en-US" sz="1600" b="1" dirty="0" smtClean="0">
                <a:solidFill>
                  <a:schemeClr val="bg1"/>
                </a:solidFill>
              </a:rPr>
              <a:t>20% Smartphone market share</a:t>
            </a:r>
          </a:p>
          <a:p>
            <a:pPr algn="r" defTabSz="913526">
              <a:buSzPct val="120000"/>
            </a:pPr>
            <a:r>
              <a:rPr lang="en-US" sz="1100" b="1" i="1" dirty="0" smtClean="0">
                <a:solidFill>
                  <a:schemeClr val="bg1"/>
                </a:solidFill>
              </a:rPr>
              <a:t>- 2009</a:t>
            </a:r>
            <a:endParaRPr lang="en-US" sz="1600" b="1" i="1" dirty="0" smtClean="0">
              <a:solidFill>
                <a:schemeClr val="bg1"/>
              </a:solidFill>
            </a:endParaRPr>
          </a:p>
          <a:p>
            <a:pPr algn="ctr" defTabSz="913526">
              <a:buSzPct val="120000"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3089" name="Rectangle 18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373736" y="4953000"/>
            <a:ext cx="2389264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defTabSz="913526">
              <a:buSzPct val="120000"/>
            </a:pPr>
            <a:r>
              <a:rPr lang="en-US" sz="1600" b="1" dirty="0" smtClean="0">
                <a:solidFill>
                  <a:schemeClr val="bg1"/>
                </a:solidFill>
              </a:rPr>
              <a:t> </a:t>
            </a:r>
          </a:p>
          <a:p>
            <a:pPr algn="r" defTabSz="913526">
              <a:buSzPct val="120000"/>
            </a:pPr>
            <a:r>
              <a:rPr lang="en-US" sz="1600" b="1" dirty="0" smtClean="0">
                <a:solidFill>
                  <a:schemeClr val="bg1"/>
                </a:solidFill>
              </a:rPr>
              <a:t>‘’Fastest growing company in the world’’  </a:t>
            </a:r>
          </a:p>
          <a:p>
            <a:pPr algn="r" defTabSz="913526">
              <a:buSzPct val="120000"/>
            </a:pPr>
            <a:r>
              <a:rPr lang="en-US" sz="1600" b="1" dirty="0" smtClean="0">
                <a:solidFill>
                  <a:schemeClr val="bg1"/>
                </a:solidFill>
              </a:rPr>
              <a:t>-</a:t>
            </a:r>
            <a:r>
              <a:rPr lang="en-US" sz="1100" b="1" i="1" dirty="0" smtClean="0">
                <a:solidFill>
                  <a:schemeClr val="bg1"/>
                </a:solidFill>
              </a:rPr>
              <a:t>Fortune Magazine 2009 </a:t>
            </a:r>
            <a:endParaRPr lang="en-US" sz="1600" b="1" i="1" dirty="0" smtClean="0">
              <a:solidFill>
                <a:schemeClr val="bg1"/>
              </a:solidFill>
            </a:endParaRPr>
          </a:p>
        </p:txBody>
      </p:sp>
      <p:pic>
        <p:nvPicPr>
          <p:cNvPr id="25" name="Picture 24" descr="BB logo 3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286000" y="2133600"/>
            <a:ext cx="4381500" cy="262890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7" name="Rectangle 7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gray">
          <a:xfrm>
            <a:off x="228600" y="76200"/>
            <a:ext cx="8636009" cy="577850"/>
          </a:xfrm>
        </p:spPr>
        <p:txBody>
          <a:bodyPr>
            <a:noAutofit/>
          </a:bodyPr>
          <a:lstStyle/>
          <a:p>
            <a:pPr lvl="0" algn="l">
              <a:defRPr/>
            </a:pPr>
            <a:r>
              <a:rPr lang="en-US" sz="2400" b="1" kern="0" dirty="0" smtClean="0">
                <a:solidFill>
                  <a:schemeClr val="tx2"/>
                </a:solidFill>
              </a:rPr>
              <a:t>The inventor of the modern ‘Smartphone’</a:t>
            </a:r>
            <a:endParaRPr lang="en-US" sz="2400" b="1" dirty="0">
              <a:solidFill>
                <a:schemeClr val="tx2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1" name="Picture 20" descr="BB logo 4.jpg"/>
          <p:cNvPicPr>
            <a:picLocks noChangeAspect="1"/>
          </p:cNvPicPr>
          <p:nvPr/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43800" y="228600"/>
            <a:ext cx="1371600" cy="30238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601524" y="618327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299682"/>
              </p:ext>
            </p:extLst>
          </p:nvPr>
        </p:nvGraphicFramePr>
        <p:xfrm>
          <a:off x="228600" y="0"/>
          <a:ext cx="8305799" cy="6727769"/>
        </p:xfrm>
        <a:graphic>
          <a:graphicData uri="http://schemas.openxmlformats.org/drawingml/2006/table">
            <a:tbl>
              <a:tblPr/>
              <a:tblGrid>
                <a:gridCol w="3557069"/>
                <a:gridCol w="770549"/>
                <a:gridCol w="770549"/>
                <a:gridCol w="770549"/>
                <a:gridCol w="636151"/>
                <a:gridCol w="761588"/>
                <a:gridCol w="761588"/>
                <a:gridCol w="277756"/>
              </a:tblGrid>
              <a:tr h="106243">
                <a:tc>
                  <a:txBody>
                    <a:bodyPr/>
                    <a:lstStyle/>
                    <a:p>
                      <a:pPr algn="l" fontAlgn="b"/>
                      <a:r>
                        <a:rPr lang="it-IT" sz="900" b="1" i="0" u="none" strike="noStrike">
                          <a:effectLst/>
                          <a:latin typeface="Arial"/>
                          <a:cs typeface="Arial"/>
                        </a:rPr>
                        <a:t>Income Statement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D9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 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D9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 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D9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 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D9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 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D9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 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D9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 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D9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81232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For the Fiscal Period Ending</a:t>
                      </a:r>
                      <a:b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</a:br>
                      <a:endParaRPr lang="en-US" sz="900" b="1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Reclassified</a:t>
                      </a:r>
                      <a:b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</a:br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12 months</a:t>
                      </a:r>
                      <a:b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</a:br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Mar-03-2012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12 months</a:t>
                      </a:r>
                      <a:b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</a:br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Mar-02-2013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LTM</a:t>
                      </a:r>
                      <a:b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</a:br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12 months</a:t>
                      </a:r>
                      <a:b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</a:br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Aug-31-2013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2014 LTM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2015 LTM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2016 LTM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1" u="none" strike="noStrike">
                          <a:effectLst/>
                          <a:latin typeface="Arial"/>
                          <a:cs typeface="Arial"/>
                        </a:rPr>
                        <a:t>Currency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1" u="none" strike="noStrike">
                          <a:effectLst/>
                          <a:latin typeface="Arial"/>
                          <a:cs typeface="Arial"/>
                        </a:rPr>
                        <a:t>USD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1" u="none" strike="noStrike">
                          <a:effectLst/>
                          <a:latin typeface="Arial"/>
                          <a:cs typeface="Arial"/>
                        </a:rPr>
                        <a:t>USD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1" u="none" strike="noStrike">
                          <a:effectLst/>
                          <a:latin typeface="Arial"/>
                          <a:cs typeface="Arial"/>
                        </a:rPr>
                        <a:t>USD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1" u="none" strike="noStrike">
                          <a:effectLst/>
                          <a:latin typeface="Arial"/>
                          <a:cs typeface="Arial"/>
                        </a:rPr>
                        <a:t>USD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1" u="none" strike="noStrike">
                          <a:effectLst/>
                          <a:latin typeface="Arial"/>
                          <a:cs typeface="Arial"/>
                        </a:rPr>
                        <a:t>USD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1" u="none" strike="noStrike">
                          <a:effectLst/>
                          <a:latin typeface="Arial"/>
                          <a:cs typeface="Arial"/>
                        </a:rPr>
                        <a:t>USD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fr-FR" sz="900" b="0" i="0" u="none" strike="noStrike">
                          <a:effectLst/>
                          <a:latin typeface="Arial"/>
                          <a:cs typeface="Arial"/>
                        </a:rPr>
                        <a:t>Revenue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18,423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11,073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10,048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8740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8324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8961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Revenues from Devices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13,794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6,648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4321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3673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3857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Revenues from Devices(%)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52%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35%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15%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5%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Revenues from Services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4,074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3,910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3910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4106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4516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Revenues from Services(%)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4%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0%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5%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10%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Revenues from Software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318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261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235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247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259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Revenues from Software(%)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18%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10%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5%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5%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Revenues from Other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237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254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274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299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329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Revenues from others Growth(%)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7%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8%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9%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10%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fr-FR" sz="900" b="1" i="0" u="none" strike="noStrike">
                          <a:effectLst/>
                          <a:latin typeface="Arial"/>
                          <a:cs typeface="Arial"/>
                        </a:rPr>
                        <a:t>  Total Revenue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18,423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11,073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10,048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8,740.4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8,324.2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8,960.6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nl-NL" sz="900" b="0" i="0" u="none" strike="noStrike">
                          <a:effectLst/>
                          <a:latin typeface="Arial"/>
                          <a:cs typeface="Arial"/>
                        </a:rPr>
                        <a:t>Cost Of Goods Sold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11,834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7,543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7,370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5943.5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5577.2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6093.2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64%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68%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73%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68%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67%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68%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cs-CZ" sz="900" b="1" i="0" u="none" strike="noStrike">
                          <a:effectLst/>
                          <a:latin typeface="Arial"/>
                          <a:cs typeface="Arial"/>
                        </a:rPr>
                        <a:t>  Gross Profit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6,589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3,530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2,678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2,796.9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2,747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2,867.4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fi-FI" sz="900" b="0" i="0" u="none" strike="noStrike">
                          <a:effectLst/>
                          <a:latin typeface="Arial"/>
                          <a:cs typeface="Arial"/>
                        </a:rPr>
                        <a:t>Selling General &amp; Admin Exp.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2,512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2,014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2,040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2,040.0 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2,244.0 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2,244.0 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10%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R &amp; D Exp.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1,533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1,482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1,450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1,305.0 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1,305.0 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1,305.0 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90%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Depreciation &amp; Amort.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Amort. of Goodwill and Intangibles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567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714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713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570.40 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570.40 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570.40 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80%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Other Operating Expense/(Income)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 Other Operating Exp., Total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4,612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4,210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4,203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2,311.7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2,311.7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2,311.7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55%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 Operating Income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1,977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(680.0) 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(1,525.0) 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485.3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435.3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555.7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Interest Expense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Interest and Invest. Income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21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15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12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12.0 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12.0 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12.0 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 Net Interest Exp.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21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15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12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12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12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12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Other Non-Operating Inc. (Exp.)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 EBT Excl. Unusual Items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1,998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(665.0) 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(1,513.0) 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473.3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423.3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543.7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Restructuring Charges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(125.0) 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(220.0) 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(318.0) 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(318.0)  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(200.0)  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(110.0)  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Impairment of Goodwill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(355.0) 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(335.0) 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Gain (Loss) On Sale Of Invest.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(1.0) 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fr-FR" sz="900" b="0" i="0" u="none" strike="noStrike">
                          <a:effectLst/>
                          <a:latin typeface="Arial"/>
                          <a:cs typeface="Arial"/>
                        </a:rPr>
                        <a:t>Legal Settlements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Other Unusual Items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-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 EBT Incl. Unusual Items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1,518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(1,220.0) 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(1,832.0) 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155.3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223.3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433.7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it-IT" sz="900" b="0" i="0" u="none" strike="noStrike">
                          <a:effectLst/>
                          <a:latin typeface="Arial"/>
                          <a:cs typeface="Arial"/>
                        </a:rPr>
                        <a:t>Income Tax Expense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347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(592.0) 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(894.0) 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62.11 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89.33 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 173.50 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effectLst/>
                          <a:latin typeface="Arial"/>
                          <a:cs typeface="Arial"/>
                        </a:rPr>
                        <a:t>40%</a:t>
                      </a: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96244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 Earnings from Cont. Ops.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1,171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(628.0) 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(938.0) 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93.2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134.0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1" i="0" u="none" strike="noStrike">
                          <a:effectLst/>
                          <a:latin typeface="Arial"/>
                          <a:cs typeface="Arial"/>
                        </a:rPr>
                        <a:t> 260.2 </a:t>
                      </a:r>
                    </a:p>
                  </a:txBody>
                  <a:tcPr marL="6250" marR="6250" marT="62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effectLst/>
                        <a:latin typeface="Arial"/>
                        <a:cs typeface="Arial"/>
                      </a:endParaRPr>
                    </a:p>
                  </a:txBody>
                  <a:tcPr marL="6250" marR="6250" marT="62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57261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882" name="Rectangle 3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59" r:id="rId7" imgW="0" imgH="0" progId="">
                  <p:embed/>
                </p:oleObj>
              </mc:Choice>
              <mc:Fallback>
                <p:oleObj r:id="rId7" imgW="0" imgH="0" progId="">
                  <p:embed/>
                  <p:pic>
                    <p:nvPicPr>
                      <p:cNvPr id="0" name="AutoShape 8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849223B1-9B41-42B5-BE9B-15584103A7B4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3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26991" y="76200"/>
            <a:ext cx="8636009" cy="577850"/>
          </a:xfrm>
        </p:spPr>
        <p:txBody>
          <a:bodyPr>
            <a:noAutofit/>
          </a:bodyPr>
          <a:lstStyle/>
          <a:p>
            <a:pPr lvl="0" algn="l">
              <a:defRPr/>
            </a:pPr>
            <a:r>
              <a:rPr lang="en-US" sz="2400" b="1" kern="0" dirty="0" smtClean="0">
                <a:solidFill>
                  <a:schemeClr val="tx2"/>
                </a:solidFill>
              </a:rPr>
              <a:t> 4 years in Hell…</a:t>
            </a:r>
            <a:endParaRPr lang="en-US" sz="2400" b="1" dirty="0">
              <a:solidFill>
                <a:schemeClr val="tx2"/>
              </a:solidFill>
            </a:endParaRPr>
          </a:p>
        </p:txBody>
      </p:sp>
      <p:sp>
        <p:nvSpPr>
          <p:cNvPr id="14" name="Rectangle 2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28600" y="972979"/>
            <a:ext cx="8763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33350" lvl="1" indent="-131763" defTabSz="895350">
              <a:buSzPct val="120000"/>
              <a:tabLst>
                <a:tab pos="800100" algn="dec"/>
              </a:tabLst>
            </a:pPr>
            <a:r>
              <a:rPr lang="en-GB" sz="1600" dirty="0" smtClean="0"/>
              <a:t>From a high of 85.9 USD/Share in 2009....                                                    .........    .. to 8.40 USD/Share in 2013 </a:t>
            </a:r>
            <a:endParaRPr lang="en-GB" sz="1600" dirty="0"/>
          </a:p>
        </p:txBody>
      </p:sp>
      <p:graphicFrame>
        <p:nvGraphicFramePr>
          <p:cNvPr id="16" name="Chart 15"/>
          <p:cNvGraphicFramePr>
            <a:graphicFrameLocks/>
          </p:cNvGraphicFramePr>
          <p:nvPr/>
        </p:nvGraphicFramePr>
        <p:xfrm>
          <a:off x="228600" y="1295400"/>
          <a:ext cx="8763000" cy="487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pic>
        <p:nvPicPr>
          <p:cNvPr id="10" name="Picture 9" descr="BB logo 4.jpg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43800" y="228600"/>
            <a:ext cx="1371600" cy="302383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9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57200" y="6111875"/>
            <a:ext cx="2133600" cy="365125"/>
          </a:xfrm>
          <a:noFill/>
        </p:spPr>
        <p:txBody>
          <a:bodyPr/>
          <a:lstStyle/>
          <a:p>
            <a:pPr defTabSz="913526"/>
            <a:fld id="{C33ADD80-9F81-44FB-B0F2-79AD4B3DFAE4}" type="slidenum">
              <a:rPr lang="en-GB"/>
              <a:pPr defTabSz="913526"/>
              <a:t>5</a:t>
            </a:fld>
            <a:endParaRPr lang="en-GB" dirty="0"/>
          </a:p>
        </p:txBody>
      </p:sp>
      <p:sp>
        <p:nvSpPr>
          <p:cNvPr id="65541" name="McK Footnote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27968" y="6629616"/>
            <a:ext cx="8334079" cy="1554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586341" indent="-586341" defTabSz="913526">
              <a:spcBef>
                <a:spcPct val="20000"/>
              </a:spcBef>
              <a:tabLst>
                <a:tab pos="544228" algn="r"/>
              </a:tabLst>
            </a:pPr>
            <a:r>
              <a:rPr lang="en-GB" sz="1000" dirty="0">
                <a:solidFill>
                  <a:srgbClr val="000000"/>
                </a:solidFill>
              </a:rPr>
              <a:t>	Source:	Team analysis</a:t>
            </a:r>
          </a:p>
        </p:txBody>
      </p:sp>
      <p:graphicFrame>
        <p:nvGraphicFramePr>
          <p:cNvPr id="65538" name="Rectangle 4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6" r:id="rId7" imgW="0" imgH="0" progId="">
                  <p:embed/>
                </p:oleObj>
              </mc:Choice>
              <mc:Fallback>
                <p:oleObj r:id="rId7" imgW="0" imgH="0" progId="">
                  <p:embed/>
                  <p:pic>
                    <p:nvPicPr>
                      <p:cNvPr id="0" name="AutoShape 8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542" name="Rectangle 5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6134" y="-35635"/>
            <a:ext cx="9719" cy="234864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12958" tIns="0" rIns="12958" bIns="0" anchor="ctr"/>
          <a:lstStyle/>
          <a:p>
            <a:pPr algn="ctr"/>
            <a:r>
              <a:rPr lang="en-GB" sz="800" dirty="0"/>
              <a:t>45</a:t>
            </a:r>
          </a:p>
        </p:txBody>
      </p:sp>
      <p:sp>
        <p:nvSpPr>
          <p:cNvPr id="65544" name="Rectangle 17"/>
          <p:cNvSpPr>
            <a:spLocks noChangeArrowheads="1"/>
          </p:cNvSpPr>
          <p:nvPr/>
        </p:nvSpPr>
        <p:spPr bwMode="auto">
          <a:xfrm>
            <a:off x="139307" y="1104774"/>
            <a:ext cx="1631180" cy="519938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65545" name="Line 18"/>
          <p:cNvSpPr>
            <a:spLocks noChangeShapeType="1"/>
          </p:cNvSpPr>
          <p:nvPr/>
        </p:nvSpPr>
        <p:spPr bwMode="auto">
          <a:xfrm>
            <a:off x="2258058" y="1090195"/>
            <a:ext cx="665268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65546" name="Rectangle 19"/>
          <p:cNvSpPr>
            <a:spLocks noChangeArrowheads="1"/>
          </p:cNvSpPr>
          <p:nvPr/>
        </p:nvSpPr>
        <p:spPr bwMode="auto">
          <a:xfrm>
            <a:off x="2258058" y="837497"/>
            <a:ext cx="3131152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defTabSz="913526">
              <a:buSzPct val="120000"/>
            </a:pPr>
            <a:r>
              <a:rPr lang="en-GB" sz="1300" b="1" dirty="0" smtClean="0">
                <a:solidFill>
                  <a:schemeClr val="tx2"/>
                </a:solidFill>
              </a:rPr>
              <a:t>Key </a:t>
            </a:r>
            <a:r>
              <a:rPr lang="en-GB" sz="1400" b="1" dirty="0" smtClean="0">
                <a:solidFill>
                  <a:schemeClr val="tx2"/>
                </a:solidFill>
              </a:rPr>
              <a:t>issues</a:t>
            </a:r>
            <a:endParaRPr lang="en-GB" sz="1300" b="1" dirty="0">
              <a:solidFill>
                <a:schemeClr val="tx2"/>
              </a:solidFill>
            </a:endParaRPr>
          </a:p>
        </p:txBody>
      </p:sp>
      <p:sp>
        <p:nvSpPr>
          <p:cNvPr id="65547" name="Rectangle 20"/>
          <p:cNvSpPr>
            <a:spLocks noChangeArrowheads="1"/>
          </p:cNvSpPr>
          <p:nvPr/>
        </p:nvSpPr>
        <p:spPr bwMode="auto">
          <a:xfrm>
            <a:off x="2209800" y="1295400"/>
            <a:ext cx="3131152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Introduction of IPHONE - 2007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Emergence of Android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/>
              <a:t>No Competitive </a:t>
            </a:r>
            <a:r>
              <a:rPr lang="en-GB" sz="1300" dirty="0" smtClean="0"/>
              <a:t>Products</a:t>
            </a:r>
            <a:endParaRPr lang="en-GB" sz="1300" dirty="0"/>
          </a:p>
        </p:txBody>
      </p:sp>
      <p:sp>
        <p:nvSpPr>
          <p:cNvPr id="65548" name="Rectangle 21"/>
          <p:cNvSpPr>
            <a:spLocks noChangeArrowheads="1"/>
          </p:cNvSpPr>
          <p:nvPr/>
        </p:nvSpPr>
        <p:spPr bwMode="auto">
          <a:xfrm>
            <a:off x="5685640" y="837497"/>
            <a:ext cx="3208904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defTabSz="913526">
              <a:buSzPct val="120000"/>
            </a:pPr>
            <a:r>
              <a:rPr lang="en-GB" sz="1400" b="1" dirty="0" smtClean="0">
                <a:solidFill>
                  <a:schemeClr val="tx2"/>
                </a:solidFill>
              </a:rPr>
              <a:t>Causes</a:t>
            </a:r>
            <a:endParaRPr lang="en-GB" sz="1300" b="1" dirty="0">
              <a:solidFill>
                <a:schemeClr val="tx2"/>
              </a:solidFill>
            </a:endParaRPr>
          </a:p>
        </p:txBody>
      </p:sp>
      <p:sp>
        <p:nvSpPr>
          <p:cNvPr id="65549" name="Rectangle 23"/>
          <p:cNvSpPr>
            <a:spLocks noChangeArrowheads="1"/>
          </p:cNvSpPr>
          <p:nvPr/>
        </p:nvSpPr>
        <p:spPr bwMode="auto">
          <a:xfrm>
            <a:off x="315869" y="1295903"/>
            <a:ext cx="1697593" cy="588524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93296" tIns="93296" rIns="93296" bIns="93296">
            <a:spAutoFit/>
          </a:bodyPr>
          <a:lstStyle/>
          <a:p>
            <a:pPr defTabSz="913526">
              <a:buSzPct val="120000"/>
            </a:pPr>
            <a:r>
              <a:rPr lang="en-GB" sz="1300" b="1" dirty="0" smtClean="0"/>
              <a:t>Poor touch screen product line</a:t>
            </a:r>
            <a:endParaRPr lang="en-GB" sz="1300" b="1" dirty="0"/>
          </a:p>
        </p:txBody>
      </p:sp>
      <p:sp>
        <p:nvSpPr>
          <p:cNvPr id="65550" name="Rectangle 24"/>
          <p:cNvSpPr>
            <a:spLocks noChangeArrowheads="1"/>
          </p:cNvSpPr>
          <p:nvPr/>
        </p:nvSpPr>
        <p:spPr bwMode="auto">
          <a:xfrm>
            <a:off x="304800" y="5400526"/>
            <a:ext cx="1697593" cy="388469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93296" tIns="93296" rIns="93296" bIns="93296">
            <a:spAutoFit/>
          </a:bodyPr>
          <a:lstStyle/>
          <a:p>
            <a:pPr defTabSz="913526">
              <a:buSzPct val="120000"/>
            </a:pPr>
            <a:r>
              <a:rPr lang="en-GB" sz="1300" b="1" dirty="0" smtClean="0"/>
              <a:t>Low end </a:t>
            </a:r>
            <a:r>
              <a:rPr lang="en-GB" sz="1300" b="1" dirty="0"/>
              <a:t>M</a:t>
            </a:r>
            <a:r>
              <a:rPr lang="en-GB" sz="1300" b="1" dirty="0" smtClean="0"/>
              <a:t>arket </a:t>
            </a:r>
            <a:endParaRPr lang="en-GB" sz="1300" b="1" dirty="0"/>
          </a:p>
        </p:txBody>
      </p:sp>
      <p:sp>
        <p:nvSpPr>
          <p:cNvPr id="65551" name="Rectangle 25"/>
          <p:cNvSpPr>
            <a:spLocks noChangeArrowheads="1"/>
          </p:cNvSpPr>
          <p:nvPr/>
        </p:nvSpPr>
        <p:spPr bwMode="auto">
          <a:xfrm>
            <a:off x="304800" y="2057400"/>
            <a:ext cx="1697593" cy="388469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93296" tIns="93296" rIns="93296" bIns="93296">
            <a:spAutoFit/>
          </a:bodyPr>
          <a:lstStyle/>
          <a:p>
            <a:pPr defTabSz="913526">
              <a:buSzPct val="120000"/>
            </a:pPr>
            <a:r>
              <a:rPr lang="en-GB" sz="1300" b="1" dirty="0" smtClean="0"/>
              <a:t>Platform Ecosystem </a:t>
            </a:r>
            <a:endParaRPr lang="en-GB" sz="1300" b="1" dirty="0"/>
          </a:p>
        </p:txBody>
      </p:sp>
      <p:sp>
        <p:nvSpPr>
          <p:cNvPr id="65552" name="Rectangle 26"/>
          <p:cNvSpPr>
            <a:spLocks noChangeArrowheads="1"/>
          </p:cNvSpPr>
          <p:nvPr/>
        </p:nvSpPr>
        <p:spPr bwMode="auto">
          <a:xfrm>
            <a:off x="2209800" y="5400526"/>
            <a:ext cx="3131152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36057" lvl="1" indent="-134438" algn="just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Inability to capture lower end market</a:t>
            </a:r>
          </a:p>
          <a:p>
            <a:pPr marL="136057" lvl="1" indent="-134438" algn="just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Inability to adapt to growing Smartphone industry</a:t>
            </a:r>
          </a:p>
          <a:p>
            <a:pPr marL="1619" lvl="1" algn="just" defTabSz="913526">
              <a:buSzPct val="120000"/>
              <a:tabLst>
                <a:tab pos="816342" algn="dec"/>
              </a:tabLst>
            </a:pPr>
            <a:endParaRPr lang="en-GB" sz="1300" dirty="0" smtClean="0"/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endParaRPr lang="en-GB" sz="1300" dirty="0"/>
          </a:p>
        </p:txBody>
      </p:sp>
      <p:sp>
        <p:nvSpPr>
          <p:cNvPr id="65553" name="Rectangle 27"/>
          <p:cNvSpPr>
            <a:spLocks noChangeArrowheads="1"/>
          </p:cNvSpPr>
          <p:nvPr/>
        </p:nvSpPr>
        <p:spPr bwMode="auto">
          <a:xfrm>
            <a:off x="2209800" y="2083740"/>
            <a:ext cx="3131152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36057" lvl="1" indent="-134438" algn="just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Evolution of Ecosystem</a:t>
            </a:r>
          </a:p>
          <a:p>
            <a:pPr marL="136057" lvl="1" indent="-134438" algn="just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Consumer’s changing preference</a:t>
            </a:r>
          </a:p>
          <a:p>
            <a:pPr marL="136057" lvl="1" indent="-134438" algn="just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Application market migration way from BB</a:t>
            </a:r>
          </a:p>
          <a:p>
            <a:pPr marL="136057" lvl="1" indent="-134438" algn="just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A negative halo begins to form </a:t>
            </a:r>
          </a:p>
          <a:p>
            <a:pPr marL="136057" lvl="1" indent="-134438" algn="just" defTabSz="913526">
              <a:buSzPct val="120000"/>
              <a:buFontTx/>
              <a:buChar char="•"/>
              <a:tabLst>
                <a:tab pos="816342" algn="dec"/>
              </a:tabLst>
            </a:pPr>
            <a:endParaRPr lang="en-GB" sz="1300" dirty="0"/>
          </a:p>
        </p:txBody>
      </p:sp>
      <p:sp>
        <p:nvSpPr>
          <p:cNvPr id="65554" name="Rectangle 28"/>
          <p:cNvSpPr>
            <a:spLocks noChangeArrowheads="1"/>
          </p:cNvSpPr>
          <p:nvPr/>
        </p:nvSpPr>
        <p:spPr bwMode="auto">
          <a:xfrm>
            <a:off x="5715000" y="1295400"/>
            <a:ext cx="3280177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R&amp;D failure</a:t>
            </a:r>
            <a:endParaRPr lang="en-GB" sz="1300" dirty="0"/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Management : Lack of Vision</a:t>
            </a:r>
          </a:p>
          <a:p>
            <a:pPr marL="1619" lvl="1" defTabSz="913526">
              <a:buSzPct val="120000"/>
              <a:tabLst>
                <a:tab pos="816342" algn="dec"/>
              </a:tabLst>
            </a:pPr>
            <a:endParaRPr lang="en-GB" sz="1300" dirty="0" smtClean="0"/>
          </a:p>
        </p:txBody>
      </p:sp>
      <p:sp>
        <p:nvSpPr>
          <p:cNvPr id="65555" name="Rectangle 29"/>
          <p:cNvSpPr>
            <a:spLocks noChangeArrowheads="1"/>
          </p:cNvSpPr>
          <p:nvPr/>
        </p:nvSpPr>
        <p:spPr bwMode="auto">
          <a:xfrm>
            <a:off x="5715000" y="5400526"/>
            <a:ext cx="3280177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Out-dated inventory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Inability to compete in lower end market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Pricing 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endParaRPr lang="en-GB" sz="1300" dirty="0" smtClean="0"/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endParaRPr lang="en-GB" sz="1300" dirty="0"/>
          </a:p>
        </p:txBody>
      </p:sp>
      <p:sp>
        <p:nvSpPr>
          <p:cNvPr id="65556" name="Rectangle 30"/>
          <p:cNvSpPr>
            <a:spLocks noChangeArrowheads="1"/>
          </p:cNvSpPr>
          <p:nvPr/>
        </p:nvSpPr>
        <p:spPr bwMode="auto">
          <a:xfrm>
            <a:off x="5715000" y="2064869"/>
            <a:ext cx="3280177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Poor R&amp;D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Product failure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/>
              <a:t>Disastrous foray into Tablet with </a:t>
            </a:r>
            <a:r>
              <a:rPr lang="en-GB" sz="1300" dirty="0" smtClean="0"/>
              <a:t>Playbook</a:t>
            </a:r>
          </a:p>
        </p:txBody>
      </p:sp>
      <p:sp>
        <p:nvSpPr>
          <p:cNvPr id="25" name="Rectangle 2"/>
          <p:cNvSpPr txBox="1">
            <a:spLocks noChangeArrowheads="1"/>
          </p:cNvSpPr>
          <p:nvPr/>
        </p:nvSpPr>
        <p:spPr bwMode="auto">
          <a:xfrm>
            <a:off x="76200" y="152400"/>
            <a:ext cx="7620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en-US" sz="2400" b="1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Key strategic issues and causes </a:t>
            </a:r>
            <a:endParaRPr lang="en-US" sz="2400" dirty="0">
              <a:solidFill>
                <a:srgbClr val="00B05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0" y="652145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6553200" y="6400800"/>
            <a:ext cx="2133600" cy="365125"/>
          </a:xfrm>
        </p:spPr>
        <p:txBody>
          <a:bodyPr/>
          <a:lstStyle/>
          <a:p>
            <a:fld id="{849223B1-9B41-42B5-BE9B-15584103A7B4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26" name="Rectangle 23"/>
          <p:cNvSpPr>
            <a:spLocks noChangeArrowheads="1"/>
          </p:cNvSpPr>
          <p:nvPr/>
        </p:nvSpPr>
        <p:spPr bwMode="auto">
          <a:xfrm>
            <a:off x="304800" y="3284069"/>
            <a:ext cx="1697593" cy="388469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93296" tIns="93296" rIns="93296" bIns="93296">
            <a:spAutoFit/>
          </a:bodyPr>
          <a:lstStyle/>
          <a:p>
            <a:pPr defTabSz="913526">
              <a:buSzPct val="120000"/>
            </a:pPr>
            <a:r>
              <a:rPr lang="en-GB" sz="1300" b="1" dirty="0" smtClean="0"/>
              <a:t>BYOD </a:t>
            </a:r>
            <a:endParaRPr lang="en-GB" sz="1300" b="1" dirty="0"/>
          </a:p>
        </p:txBody>
      </p:sp>
      <p:sp>
        <p:nvSpPr>
          <p:cNvPr id="29" name="Rectangle 24"/>
          <p:cNvSpPr>
            <a:spLocks noChangeArrowheads="1"/>
          </p:cNvSpPr>
          <p:nvPr/>
        </p:nvSpPr>
        <p:spPr bwMode="auto">
          <a:xfrm>
            <a:off x="304800" y="4198469"/>
            <a:ext cx="1697593" cy="388469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93296" tIns="93296" rIns="93296" bIns="93296">
            <a:spAutoFit/>
          </a:bodyPr>
          <a:lstStyle/>
          <a:p>
            <a:pPr defTabSz="913526">
              <a:buSzPct val="120000"/>
            </a:pPr>
            <a:r>
              <a:rPr lang="en-GB" sz="1300" b="1" dirty="0" smtClean="0"/>
              <a:t>Aging Network </a:t>
            </a:r>
            <a:endParaRPr lang="en-GB" sz="1300" b="1" dirty="0"/>
          </a:p>
        </p:txBody>
      </p:sp>
      <p:sp>
        <p:nvSpPr>
          <p:cNvPr id="2" name="Rectangle 1"/>
          <p:cNvSpPr/>
          <p:nvPr/>
        </p:nvSpPr>
        <p:spPr>
          <a:xfrm>
            <a:off x="2133600" y="3258262"/>
            <a:ext cx="3581400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/>
              <a:t>Bring your own device (BYOD) permeates corporate world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Effects </a:t>
            </a:r>
            <a:r>
              <a:rPr lang="en-GB" sz="1300" dirty="0"/>
              <a:t>hardware and enterprise sales</a:t>
            </a:r>
          </a:p>
        </p:txBody>
      </p:sp>
      <p:sp>
        <p:nvSpPr>
          <p:cNvPr id="3" name="Rectangle 2"/>
          <p:cNvSpPr/>
          <p:nvPr/>
        </p:nvSpPr>
        <p:spPr>
          <a:xfrm>
            <a:off x="5715000" y="3284069"/>
            <a:ext cx="3124200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Lack of applications for other platforms </a:t>
            </a:r>
            <a:endParaRPr lang="en-GB" sz="1300" dirty="0"/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/>
              <a:t>Corporate customers – the most profitable segment – begin to migrate </a:t>
            </a:r>
          </a:p>
        </p:txBody>
      </p:sp>
      <p:sp>
        <p:nvSpPr>
          <p:cNvPr id="4" name="Rectangle 3"/>
          <p:cNvSpPr/>
          <p:nvPr/>
        </p:nvSpPr>
        <p:spPr>
          <a:xfrm>
            <a:off x="2209800" y="4198469"/>
            <a:ext cx="3124200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/>
              <a:t>BB suffers massive global outages 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/>
              <a:t>Information delivery delayed infuriating corporate </a:t>
            </a:r>
            <a:r>
              <a:rPr lang="en-GB" sz="1300" dirty="0" smtClean="0"/>
              <a:t>clients</a:t>
            </a:r>
          </a:p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Inability to compete with 4g/LTE networks</a:t>
            </a:r>
            <a:endParaRPr lang="en-GB" sz="1300" dirty="0"/>
          </a:p>
        </p:txBody>
      </p:sp>
      <p:sp>
        <p:nvSpPr>
          <p:cNvPr id="5" name="Rectangle 4"/>
          <p:cNvSpPr/>
          <p:nvPr/>
        </p:nvSpPr>
        <p:spPr>
          <a:xfrm>
            <a:off x="5715000" y="4198469"/>
            <a:ext cx="281940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057" lvl="1" indent="-134438" defTabSz="913526">
              <a:buSzPct val="120000"/>
              <a:buFontTx/>
              <a:buChar char="•"/>
              <a:tabLst>
                <a:tab pos="816342" algn="dec"/>
              </a:tabLst>
            </a:pPr>
            <a:r>
              <a:rPr lang="en-GB" sz="1300" dirty="0" smtClean="0"/>
              <a:t>Out-dated Network Technology</a:t>
            </a:r>
            <a:endParaRPr lang="en-GB" sz="1300" dirty="0"/>
          </a:p>
          <a:p>
            <a:pPr marL="1619" lvl="1" defTabSz="913526">
              <a:buSzPct val="120000"/>
              <a:tabLst>
                <a:tab pos="816342" algn="dec"/>
              </a:tabLst>
            </a:pPr>
            <a:endParaRPr lang="en-GB" sz="1300" dirty="0"/>
          </a:p>
        </p:txBody>
      </p:sp>
      <p:pic>
        <p:nvPicPr>
          <p:cNvPr id="31" name="Picture 30" descr="BB logo 4.jpg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43800" y="228600"/>
            <a:ext cx="1371600" cy="302383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17392" name="Rectangle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61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EDCA8AD-8682-4585-8635-08C7AA2F5169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1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76200" y="31750"/>
            <a:ext cx="8676000" cy="577850"/>
          </a:xfrm>
        </p:spPr>
        <p:txBody>
          <a:bodyPr>
            <a:noAutofit/>
          </a:bodyPr>
          <a:lstStyle/>
          <a:p>
            <a:pPr lvl="0" algn="l">
              <a:defRPr/>
            </a:pPr>
            <a:r>
              <a:rPr lang="en-US" sz="2400" b="1" kern="0" dirty="0" smtClean="0">
                <a:solidFill>
                  <a:schemeClr val="tx2"/>
                </a:solidFill>
              </a:rPr>
              <a:t>Income Sheet effects….</a:t>
            </a:r>
            <a:endParaRPr lang="en-US" sz="2400" b="1" dirty="0">
              <a:solidFill>
                <a:schemeClr val="tx2"/>
              </a:solidFill>
            </a:endParaRPr>
          </a:p>
        </p:txBody>
      </p:sp>
      <p:pic>
        <p:nvPicPr>
          <p:cNvPr id="15" name="Picture 14" descr="BB logo 4.jpg"/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43800" y="228600"/>
            <a:ext cx="1371600" cy="302383"/>
          </a:xfrm>
          <a:prstGeom prst="rect">
            <a:avLst/>
          </a:prstGeom>
        </p:spPr>
      </p:pic>
      <p:sp>
        <p:nvSpPr>
          <p:cNvPr id="21" name="Rectangle 2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42887" y="775156"/>
            <a:ext cx="234791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defTabSz="895350">
              <a:buClr>
                <a:schemeClr val="tx2"/>
              </a:buClr>
            </a:pPr>
            <a:r>
              <a:rPr lang="en-US" sz="1400" b="1" dirty="0" smtClean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REVENUE</a:t>
            </a:r>
            <a:endParaRPr lang="en-US" sz="1400" b="1" dirty="0">
              <a:solidFill>
                <a:schemeClr val="bg1">
                  <a:lumMod val="50000"/>
                </a:schemeClr>
              </a:solidFill>
              <a:cs typeface="Arial" charset="0"/>
            </a:endParaRPr>
          </a:p>
        </p:txBody>
      </p:sp>
      <p:graphicFrame>
        <p:nvGraphicFramePr>
          <p:cNvPr id="29" name="Chart 28"/>
          <p:cNvGraphicFramePr/>
          <p:nvPr/>
        </p:nvGraphicFramePr>
        <p:xfrm>
          <a:off x="228600" y="1066800"/>
          <a:ext cx="4114800" cy="1295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30" name="Chart 29"/>
          <p:cNvGraphicFramePr/>
          <p:nvPr/>
        </p:nvGraphicFramePr>
        <p:xfrm>
          <a:off x="228600" y="2514600"/>
          <a:ext cx="4114800" cy="1447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33" name="Rectangle 2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2887" y="2299156"/>
            <a:ext cx="234791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defTabSz="895350">
              <a:buClr>
                <a:schemeClr val="tx2"/>
              </a:buClr>
            </a:pPr>
            <a:r>
              <a:rPr lang="en-US" sz="1400" b="1" dirty="0" smtClean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EBITDA</a:t>
            </a:r>
            <a:endParaRPr lang="en-US" sz="1400" b="1" dirty="0">
              <a:solidFill>
                <a:schemeClr val="bg1">
                  <a:lumMod val="50000"/>
                </a:schemeClr>
              </a:solidFill>
              <a:cs typeface="Arial" charset="0"/>
            </a:endParaRPr>
          </a:p>
        </p:txBody>
      </p:sp>
      <p:graphicFrame>
        <p:nvGraphicFramePr>
          <p:cNvPr id="34" name="Chart 33"/>
          <p:cNvGraphicFramePr/>
          <p:nvPr>
            <p:extLst>
              <p:ext uri="{D42A27DB-BD31-4B8C-83A1-F6EECF244321}">
                <p14:modId xmlns:p14="http://schemas.microsoft.com/office/powerpoint/2010/main" val="3395481127"/>
              </p:ext>
            </p:extLst>
          </p:nvPr>
        </p:nvGraphicFramePr>
        <p:xfrm>
          <a:off x="4876800" y="990600"/>
          <a:ext cx="3962400" cy="3124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35" name="Rectangle 2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553200" y="762000"/>
            <a:ext cx="234791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895350">
              <a:buClr>
                <a:schemeClr val="tx2"/>
              </a:buClr>
            </a:pPr>
            <a:r>
              <a:rPr lang="en-US" sz="1400" b="1" dirty="0" smtClean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REVENUE SEGMENTATION</a:t>
            </a:r>
            <a:endParaRPr lang="en-US" sz="1400" b="1" dirty="0">
              <a:solidFill>
                <a:schemeClr val="bg1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36" name="Pentagon 35"/>
          <p:cNvSpPr/>
          <p:nvPr/>
        </p:nvSpPr>
        <p:spPr>
          <a:xfrm>
            <a:off x="152400" y="685800"/>
            <a:ext cx="4419600" cy="3429000"/>
          </a:xfrm>
          <a:prstGeom prst="homePlate">
            <a:avLst>
              <a:gd name="adj" fmla="val 7413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Pentagon 36"/>
          <p:cNvSpPr/>
          <p:nvPr/>
        </p:nvSpPr>
        <p:spPr>
          <a:xfrm rot="10800000">
            <a:off x="4572000" y="685800"/>
            <a:ext cx="4419599" cy="3429000"/>
          </a:xfrm>
          <a:prstGeom prst="homePlate">
            <a:avLst>
              <a:gd name="adj" fmla="val 7413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1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28600" y="4587895"/>
            <a:ext cx="4191000" cy="1508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3810" tIns="0" rIns="3810" bIns="0" anchor="ctr">
            <a:spAutoFit/>
          </a:bodyPr>
          <a:lstStyle/>
          <a:p>
            <a:pPr marL="207963" lvl="1" indent="-206375" defTabSz="895350"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400" i="1" dirty="0" smtClean="0"/>
              <a:t>BB’s top line has shrunk 30% CAGR in last two years, while EBITDA  shrank by 82.4%…</a:t>
            </a:r>
            <a:endParaRPr lang="en-US" sz="1400" i="1" dirty="0"/>
          </a:p>
          <a:p>
            <a:pPr marL="207963" lvl="1" indent="-206375" defTabSz="895350"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400" i="1" dirty="0" smtClean="0"/>
              <a:t>…2012-13, deferred revenue increased 279M; distributors now sell through ...</a:t>
            </a:r>
            <a:endParaRPr lang="en-US" sz="1400" i="1" dirty="0"/>
          </a:p>
          <a:p>
            <a:pPr marL="207963" lvl="1" indent="-206375" defTabSz="895350"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400" i="1" dirty="0" smtClean="0"/>
              <a:t>…$752M in losses on Inventory provisions from Playbook and BB7….</a:t>
            </a:r>
            <a:endParaRPr lang="en-US" altLang="zh-CN" sz="1400" i="1" dirty="0">
              <a:ea typeface="宋体" pitchFamily="2" charset="-122"/>
            </a:endParaRPr>
          </a:p>
        </p:txBody>
      </p:sp>
      <p:sp>
        <p:nvSpPr>
          <p:cNvPr id="40" name="Rectangle 1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724400" y="4572000"/>
            <a:ext cx="4191000" cy="1508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3810" tIns="0" rIns="3810" bIns="0" anchor="ctr">
            <a:spAutoFit/>
          </a:bodyPr>
          <a:lstStyle/>
          <a:p>
            <a:pPr marL="207963" lvl="1" indent="-206375" defTabSz="895350"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400" i="1" dirty="0" smtClean="0"/>
              <a:t>While all revenue segments declined, Software is propping up the numbers…</a:t>
            </a:r>
            <a:endParaRPr lang="en-US" sz="1400" i="1" dirty="0"/>
          </a:p>
          <a:p>
            <a:pPr marL="207963" lvl="1" indent="-206375" defTabSz="895350"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400" i="1" dirty="0" smtClean="0"/>
              <a:t>…52% drop in Hardware sales in FY2013 with a 106% drop in margins...</a:t>
            </a:r>
            <a:endParaRPr lang="en-US" sz="1400" i="1" dirty="0"/>
          </a:p>
          <a:p>
            <a:pPr marL="207963" lvl="1" indent="-206375" defTabSz="895350">
              <a:spcAft>
                <a:spcPct val="500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zh-CN" sz="1400" i="1" dirty="0" smtClean="0">
                <a:ea typeface="宋体" pitchFamily="2" charset="-122"/>
              </a:rPr>
              <a:t>….Hardware sales will eventually hit software sales unless turned around….</a:t>
            </a:r>
            <a:endParaRPr lang="en-US" altLang="zh-CN" sz="1400" i="1" dirty="0">
              <a:ea typeface="宋体" pitchFamily="2" charset="-122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292" name="McK Footno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1489" y="6644194"/>
            <a:ext cx="8334079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575003" indent="-575003" defTabSz="913526">
              <a:tabLst>
                <a:tab pos="528031" algn="r"/>
              </a:tabLst>
            </a:pPr>
            <a:r>
              <a:rPr lang="en-US" sz="1200" dirty="0">
                <a:solidFill>
                  <a:srgbClr val="000000"/>
                </a:solidFill>
              </a:rPr>
              <a:t>	Source: Expert interviews; team analys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849223B1-9B41-42B5-BE9B-15584103A7B4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0" name="Rectangle 2"/>
          <p:cNvSpPr txBox="1">
            <a:spLocks noChangeArrowheads="1"/>
          </p:cNvSpPr>
          <p:nvPr/>
        </p:nvSpPr>
        <p:spPr bwMode="auto">
          <a:xfrm>
            <a:off x="76200" y="76200"/>
            <a:ext cx="88392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en-US" sz="2400" b="1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RIM in </a:t>
            </a:r>
            <a:r>
              <a:rPr lang="en-US" sz="2400" b="1" kern="0" dirty="0" smtClean="0">
                <a:solidFill>
                  <a:srgbClr val="FF0000"/>
                </a:solidFill>
                <a:latin typeface="+mj-lt"/>
                <a:ea typeface="+mj-ea"/>
                <a:cs typeface="+mj-cs"/>
              </a:rPr>
              <a:t>red</a:t>
            </a:r>
            <a:r>
              <a:rPr lang="en-US" sz="2400" b="1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, though no debt…</a:t>
            </a:r>
            <a:endParaRPr lang="en-US" sz="2400" dirty="0">
              <a:solidFill>
                <a:srgbClr val="00B05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8" name="Oval 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57238" y="1268413"/>
            <a:ext cx="5033962" cy="4916487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200"/>
          </a:p>
        </p:txBody>
      </p:sp>
      <p:sp>
        <p:nvSpPr>
          <p:cNvPr id="129" name="Oval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14400" y="5118100"/>
            <a:ext cx="1845414" cy="9017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200"/>
          </a:p>
        </p:txBody>
      </p:sp>
      <p:sp>
        <p:nvSpPr>
          <p:cNvPr id="130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908050" y="5421868"/>
            <a:ext cx="17589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44463" lvl="1" indent="-142875" algn="ctr" defTabSz="895350">
              <a:buSzPct val="120000"/>
            </a:pPr>
            <a:r>
              <a:rPr lang="en-US" sz="1200" b="1" dirty="0" smtClean="0"/>
              <a:t>MARKET VALUE/ BOOK VALUE</a:t>
            </a:r>
            <a:endParaRPr lang="en-US" sz="1200" dirty="0"/>
          </a:p>
        </p:txBody>
      </p:sp>
      <p:sp>
        <p:nvSpPr>
          <p:cNvPr id="131" name="Oval 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271713" y="895350"/>
            <a:ext cx="1766887" cy="78105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200"/>
          </a:p>
        </p:txBody>
      </p:sp>
      <p:sp>
        <p:nvSpPr>
          <p:cNvPr id="132" name="Rectangle 7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602861" y="1066800"/>
            <a:ext cx="122872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 defTabSz="895350">
              <a:buSzPct val="120000"/>
            </a:pPr>
            <a:r>
              <a:rPr lang="en-US" sz="1200" b="1" dirty="0" smtClean="0"/>
              <a:t>WC/ TOTAL ASSETS</a:t>
            </a:r>
            <a:endParaRPr lang="en-US" sz="1200" b="1" dirty="0"/>
          </a:p>
        </p:txBody>
      </p:sp>
      <p:sp>
        <p:nvSpPr>
          <p:cNvPr id="133" name="Oval 8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429001" y="5162550"/>
            <a:ext cx="2133600" cy="85725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200"/>
          </a:p>
        </p:txBody>
      </p:sp>
      <p:sp>
        <p:nvSpPr>
          <p:cNvPr id="134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651250" y="5378450"/>
            <a:ext cx="175736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44463" lvl="1" indent="-142875" algn="ctr" defTabSz="895350">
              <a:buSzPct val="120000"/>
            </a:pPr>
            <a:r>
              <a:rPr lang="en-US" sz="1200" b="1" dirty="0" smtClean="0"/>
              <a:t>EBIT/ TOTAL ASSETS</a:t>
            </a:r>
          </a:p>
          <a:p>
            <a:pPr marL="144463" lvl="1" indent="-142875" algn="ctr" defTabSz="895350">
              <a:buSzPct val="120000"/>
            </a:pPr>
            <a:r>
              <a:rPr lang="en-US" sz="1200" dirty="0" smtClean="0"/>
              <a:t>Measures operating efficiency </a:t>
            </a:r>
            <a:endParaRPr lang="en-US" sz="1200" dirty="0"/>
          </a:p>
        </p:txBody>
      </p:sp>
      <p:sp>
        <p:nvSpPr>
          <p:cNvPr id="135" name="AutoShape 10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524000" y="3263860"/>
            <a:ext cx="939800" cy="393740"/>
          </a:xfrm>
          <a:prstGeom prst="leftRightArrow">
            <a:avLst>
              <a:gd name="adj1" fmla="val 50000"/>
              <a:gd name="adj2" fmla="val 37674"/>
            </a:avLst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200"/>
          </a:p>
        </p:txBody>
      </p:sp>
      <p:sp>
        <p:nvSpPr>
          <p:cNvPr id="136" name="AutoShape 11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992562" y="3263861"/>
            <a:ext cx="640080" cy="328612"/>
          </a:xfrm>
          <a:prstGeom prst="leftRightArrow">
            <a:avLst>
              <a:gd name="adj1" fmla="val 50000"/>
              <a:gd name="adj2" fmla="val 37674"/>
            </a:avLst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200"/>
          </a:p>
        </p:txBody>
      </p:sp>
      <p:grpSp>
        <p:nvGrpSpPr>
          <p:cNvPr id="142" name="Group 17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2465387" y="2966998"/>
            <a:ext cx="1524000" cy="922338"/>
            <a:chOff x="2309" y="1904"/>
            <a:chExt cx="960" cy="581"/>
          </a:xfrm>
          <a:solidFill>
            <a:schemeClr val="tx2"/>
          </a:solidFill>
        </p:grpSpPr>
        <p:sp>
          <p:nvSpPr>
            <p:cNvPr id="143" name="Oval 18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2309" y="1904"/>
              <a:ext cx="960" cy="581"/>
            </a:xfrm>
            <a:prstGeom prst="ellips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200"/>
            </a:p>
          </p:txBody>
        </p:sp>
        <p:sp>
          <p:nvSpPr>
            <p:cNvPr id="144" name="Rectangle 19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2388" y="2045"/>
              <a:ext cx="781" cy="27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 defTabSz="895350">
                <a:buSzPct val="120000"/>
              </a:pPr>
              <a:r>
                <a:rPr lang="en-US" sz="1400" b="1" dirty="0" smtClean="0">
                  <a:solidFill>
                    <a:schemeClr val="bg1"/>
                  </a:solidFill>
                </a:rPr>
                <a:t>ALTMAN Z SCORE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6" name="Group 21"/>
          <p:cNvGrpSpPr>
            <a:grpSpLocks/>
          </p:cNvGrpSpPr>
          <p:nvPr/>
        </p:nvGrpSpPr>
        <p:grpSpPr bwMode="auto">
          <a:xfrm>
            <a:off x="4648205" y="2952749"/>
            <a:ext cx="1981321" cy="933492"/>
            <a:chOff x="4347" y="1952"/>
            <a:chExt cx="851" cy="429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147" name="Oval 22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4347" y="1952"/>
              <a:ext cx="851" cy="429"/>
            </a:xfrm>
            <a:prstGeom prst="ellips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200"/>
            </a:p>
          </p:txBody>
        </p:sp>
        <p:sp>
          <p:nvSpPr>
            <p:cNvPr id="148" name="Rectangle 23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4437" y="2155"/>
              <a:ext cx="761" cy="1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/>
              <a:r>
                <a:rPr lang="en-US" sz="1200" dirty="0" smtClean="0"/>
                <a:t>Profitability that reflects age</a:t>
              </a:r>
            </a:p>
            <a:p>
              <a:pPr marL="144463" lvl="1" indent="-142875" defTabSz="895350"/>
              <a:r>
                <a:rPr lang="en-US" sz="1200" dirty="0" smtClean="0"/>
                <a:t>And earning power</a:t>
              </a:r>
              <a:endParaRPr lang="en-US" sz="1200" dirty="0"/>
            </a:p>
          </p:txBody>
        </p:sp>
        <p:sp>
          <p:nvSpPr>
            <p:cNvPr id="149" name="Rectangle 24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4478" y="1988"/>
              <a:ext cx="603" cy="1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>
                <a:buSzPct val="120000"/>
              </a:pPr>
              <a:r>
                <a:rPr lang="en-US" sz="1200" b="1" dirty="0" smtClean="0"/>
                <a:t>RETAINED EARNINGS/</a:t>
              </a:r>
            </a:p>
            <a:p>
              <a:pPr marL="144463" lvl="1" indent="-142875" defTabSz="895350">
                <a:buSzPct val="120000"/>
              </a:pPr>
              <a:r>
                <a:rPr lang="en-US" sz="1200" b="1" dirty="0" smtClean="0"/>
                <a:t>TOTAL ASSET</a:t>
              </a:r>
              <a:endParaRPr lang="en-US" sz="1200" dirty="0"/>
            </a:p>
          </p:txBody>
        </p:sp>
      </p:grpSp>
      <p:sp>
        <p:nvSpPr>
          <p:cNvPr id="150" name="Rectangle 25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526661" y="1283732"/>
            <a:ext cx="135953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marL="144463" lvl="1" indent="-142875" defTabSz="895350">
              <a:buFontTx/>
              <a:buChar char="•"/>
            </a:pPr>
            <a:r>
              <a:rPr lang="en-US" sz="1200" dirty="0" smtClean="0"/>
              <a:t>Liquidity </a:t>
            </a:r>
            <a:r>
              <a:rPr lang="en-US" sz="1200" dirty="0" err="1" smtClean="0"/>
              <a:t>wrt</a:t>
            </a:r>
            <a:r>
              <a:rPr lang="en-US" sz="1200" dirty="0" smtClean="0"/>
              <a:t> to size</a:t>
            </a:r>
            <a:endParaRPr lang="en-US" sz="1200" dirty="0"/>
          </a:p>
        </p:txBody>
      </p:sp>
      <p:grpSp>
        <p:nvGrpSpPr>
          <p:cNvPr id="151" name="Group 26"/>
          <p:cNvGrpSpPr>
            <a:grpSpLocks/>
          </p:cNvGrpSpPr>
          <p:nvPr/>
        </p:nvGrpSpPr>
        <p:grpSpPr bwMode="auto">
          <a:xfrm>
            <a:off x="76200" y="2826327"/>
            <a:ext cx="1752600" cy="831453"/>
            <a:chOff x="321" y="1967"/>
            <a:chExt cx="992" cy="364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152" name="Oval 27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321" y="1967"/>
              <a:ext cx="988" cy="364"/>
            </a:xfrm>
            <a:prstGeom prst="ellips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200"/>
            </a:p>
          </p:txBody>
        </p:sp>
        <p:sp>
          <p:nvSpPr>
            <p:cNvPr id="153" name="Rectangle 28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464" y="2034"/>
              <a:ext cx="849" cy="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144463" lvl="1" indent="-142875" defTabSz="895350">
                <a:buSzPct val="120000"/>
              </a:pPr>
              <a:r>
                <a:rPr lang="en-US" sz="1200" b="1" dirty="0" smtClean="0"/>
                <a:t>SALES/ TOTAL ASSETS</a:t>
              </a:r>
              <a:endParaRPr lang="en-US" sz="1200" b="1" dirty="0"/>
            </a:p>
          </p:txBody>
        </p:sp>
        <p:sp>
          <p:nvSpPr>
            <p:cNvPr id="154" name="Rectangle 29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457" y="2108"/>
              <a:ext cx="595" cy="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>
                <a:buFontTx/>
                <a:buChar char="•"/>
              </a:pPr>
              <a:r>
                <a:rPr lang="en-US" sz="1200" dirty="0" smtClean="0"/>
                <a:t>Total asset turnover</a:t>
              </a:r>
              <a:endParaRPr lang="en-US" sz="1200" dirty="0"/>
            </a:p>
          </p:txBody>
        </p:sp>
      </p:grpSp>
      <p:sp>
        <p:nvSpPr>
          <p:cNvPr id="156" name="AutoShape 3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 rot="1745045">
            <a:off x="2255311" y="3718458"/>
            <a:ext cx="365760" cy="1463040"/>
          </a:xfrm>
          <a:prstGeom prst="upDownArrow">
            <a:avLst>
              <a:gd name="adj1" fmla="val 50000"/>
              <a:gd name="adj2" fmla="val 37673"/>
            </a:avLst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200"/>
          </a:p>
        </p:txBody>
      </p:sp>
      <p:sp>
        <p:nvSpPr>
          <p:cNvPr id="157" name="AutoShape 3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 rot="19865120">
            <a:off x="3870141" y="3697382"/>
            <a:ext cx="349250" cy="1554480"/>
          </a:xfrm>
          <a:prstGeom prst="upDownArrow">
            <a:avLst>
              <a:gd name="adj1" fmla="val 50000"/>
              <a:gd name="adj2" fmla="val 37673"/>
            </a:avLst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200"/>
          </a:p>
        </p:txBody>
      </p:sp>
      <p:sp>
        <p:nvSpPr>
          <p:cNvPr id="158" name="AutoShape 38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 rot="16200000">
            <a:off x="2574131" y="2134355"/>
            <a:ext cx="1308100" cy="328612"/>
          </a:xfrm>
          <a:prstGeom prst="leftRightArrow">
            <a:avLst>
              <a:gd name="adj1" fmla="val 50000"/>
              <a:gd name="adj2" fmla="val 37669"/>
            </a:avLst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200"/>
          </a:p>
        </p:txBody>
      </p:sp>
      <p:graphicFrame>
        <p:nvGraphicFramePr>
          <p:cNvPr id="159" name="Table 15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2042671"/>
              </p:ext>
            </p:extLst>
          </p:nvPr>
        </p:nvGraphicFramePr>
        <p:xfrm>
          <a:off x="6705600" y="838200"/>
          <a:ext cx="2209800" cy="259080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169894"/>
                <a:gridCol w="1039906"/>
              </a:tblGrid>
              <a:tr h="571995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Altman</a:t>
                      </a:r>
                      <a:r>
                        <a:rPr lang="en-US" sz="1400" baseline="0" dirty="0" smtClean="0"/>
                        <a:t> Z score</a:t>
                      </a:r>
                      <a:endParaRPr lang="en-US" sz="1400" dirty="0" smtClean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36468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009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17.13</a:t>
                      </a:r>
                      <a:endParaRPr lang="en-US" sz="14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36468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010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12.44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36468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011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8.7</a:t>
                      </a:r>
                      <a:endParaRPr lang="en-US" sz="14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36468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012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5.6</a:t>
                      </a:r>
                      <a:endParaRPr lang="en-US" sz="14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36468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013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.7</a:t>
                      </a:r>
                      <a:endParaRPr lang="en-US" sz="14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36468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LTM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.3</a:t>
                      </a:r>
                      <a:endParaRPr lang="en-US" sz="14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60" name="Picture 159" descr="BB logo 4.jpg"/>
          <p:cNvPicPr>
            <a:picLocks noChangeAspect="1"/>
          </p:cNvPicPr>
          <p:nvPr/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43800" y="228600"/>
            <a:ext cx="1371600" cy="302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1802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6553200" y="4908550"/>
            <a:ext cx="2133600" cy="365125"/>
          </a:xfrm>
        </p:spPr>
        <p:txBody>
          <a:bodyPr/>
          <a:lstStyle/>
          <a:p>
            <a:fld id="{849223B1-9B41-42B5-BE9B-15584103A7B4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20" name="Rectangle 2"/>
          <p:cNvSpPr txBox="1">
            <a:spLocks noChangeArrowheads="1"/>
          </p:cNvSpPr>
          <p:nvPr/>
        </p:nvSpPr>
        <p:spPr bwMode="auto">
          <a:xfrm>
            <a:off x="76200" y="0"/>
            <a:ext cx="88392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en-US" sz="2400" b="1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e nature of the beast…</a:t>
            </a:r>
            <a:endParaRPr lang="en-US" sz="2400" dirty="0">
              <a:solidFill>
                <a:srgbClr val="00B050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Picture 6" descr="130129080537-smartphone-market-share-pie-chart-large-gallery-horizontal.jpg"/>
          <p:cNvPicPr/>
          <p:nvPr/>
        </p:nvPicPr>
        <p:blipFill>
          <a:blip r:embed="rId3"/>
          <a:srcRect l="35555" t="13570" r="31113" b="16317"/>
          <a:stretch>
            <a:fillRect/>
          </a:stretch>
        </p:blipFill>
        <p:spPr>
          <a:xfrm>
            <a:off x="457200" y="3404404"/>
            <a:ext cx="2691596" cy="3072596"/>
          </a:xfrm>
          <a:prstGeom prst="rect">
            <a:avLst/>
          </a:prstGeom>
        </p:spPr>
      </p:pic>
      <p:pic>
        <p:nvPicPr>
          <p:cNvPr id="8" name="Picture 7" descr="130129080537-smartphone-market-share-pie-chart-large-gallery-horizontal.jpg"/>
          <p:cNvPicPr/>
          <p:nvPr/>
        </p:nvPicPr>
        <p:blipFill>
          <a:blip r:embed="rId3"/>
          <a:srcRect t="11308" r="65557" b="14056"/>
          <a:stretch>
            <a:fillRect/>
          </a:stretch>
        </p:blipFill>
        <p:spPr>
          <a:xfrm>
            <a:off x="228600" y="457200"/>
            <a:ext cx="2667000" cy="307259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791200" y="2971800"/>
            <a:ext cx="2895600" cy="1021556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 smtClean="0"/>
              <a:t>Blackberry faces a massive Market share Turnaround situation </a:t>
            </a:r>
            <a:endParaRPr lang="en-US" b="1" i="1" dirty="0"/>
          </a:p>
        </p:txBody>
      </p:sp>
      <p:sp>
        <p:nvSpPr>
          <p:cNvPr id="10" name="TextBox 9"/>
          <p:cNvSpPr txBox="1"/>
          <p:nvPr/>
        </p:nvSpPr>
        <p:spPr>
          <a:xfrm>
            <a:off x="0" y="621268"/>
            <a:ext cx="1066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i="1" dirty="0" smtClean="0">
                <a:solidFill>
                  <a:srgbClr val="00B050"/>
                </a:solidFill>
              </a:rPr>
              <a:t>2009</a:t>
            </a:r>
            <a:endParaRPr lang="en-US" b="1" i="1" dirty="0">
              <a:solidFill>
                <a:srgbClr val="00B05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3505200"/>
            <a:ext cx="1066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i="1" dirty="0" smtClean="0">
                <a:solidFill>
                  <a:srgbClr val="00B050"/>
                </a:solidFill>
              </a:rPr>
              <a:t>2012</a:t>
            </a:r>
            <a:endParaRPr lang="en-US" b="1" i="1" dirty="0">
              <a:solidFill>
                <a:srgbClr val="00B050"/>
              </a:solidFill>
            </a:endParaRPr>
          </a:p>
        </p:txBody>
      </p:sp>
      <p:pic>
        <p:nvPicPr>
          <p:cNvPr id="18" name="Picture 17" descr="BB logo 4.jpg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43800" y="228600"/>
            <a:ext cx="1371600" cy="30238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>
          <a:xfrm>
            <a:off x="823352" y="2301240"/>
            <a:ext cx="4267200" cy="36576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0" y="6477000"/>
            <a:ext cx="9144000" cy="381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Slide Number Placeholder 17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4EDCA8AD-8682-4585-8635-08C7AA2F5169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2307075" name="Rectangle 3"/>
          <p:cNvSpPr>
            <a:spLocks noGrp="1" noChangeArrowheads="1"/>
          </p:cNvSpPr>
          <p:nvPr>
            <p:ph type="title"/>
          </p:nvPr>
        </p:nvSpPr>
        <p:spPr>
          <a:xfrm>
            <a:off x="228600" y="228600"/>
            <a:ext cx="5120640" cy="294794"/>
          </a:xfrm>
        </p:spPr>
        <p:txBody>
          <a:bodyPr>
            <a:noAutofit/>
          </a:bodyPr>
          <a:lstStyle/>
          <a:p>
            <a:pPr algn="l"/>
            <a:r>
              <a:rPr lang="en-GB" sz="2000" b="1" dirty="0" smtClean="0">
                <a:solidFill>
                  <a:schemeClr val="tx2"/>
                </a:solidFill>
              </a:rPr>
              <a:t>AGENDA</a:t>
            </a:r>
            <a:endParaRPr lang="en-GB" sz="2000" b="1" dirty="0">
              <a:solidFill>
                <a:schemeClr val="tx2"/>
              </a:solidFill>
            </a:endParaRPr>
          </a:p>
        </p:txBody>
      </p:sp>
      <p:sp>
        <p:nvSpPr>
          <p:cNvPr id="2307076" name="Rectangle 4"/>
          <p:cNvSpPr>
            <a:spLocks noChangeArrowheads="1"/>
          </p:cNvSpPr>
          <p:nvPr/>
        </p:nvSpPr>
        <p:spPr bwMode="auto">
          <a:xfrm>
            <a:off x="1" y="1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en-US" dirty="0"/>
          </a:p>
        </p:txBody>
      </p:sp>
      <p:sp>
        <p:nvSpPr>
          <p:cNvPr id="9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990600" y="533400"/>
            <a:ext cx="7330048" cy="5924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344521" lvl="1" indent="-342900" defTabSz="913526">
              <a:spcBef>
                <a:spcPct val="100000"/>
              </a:spcBef>
              <a:buFont typeface="+mj-lt"/>
              <a:buAutoNum type="arabicPeriod"/>
            </a:pPr>
            <a:endParaRPr lang="en-US" sz="1500" b="1" dirty="0" smtClean="0">
              <a:solidFill>
                <a:schemeClr val="accent1"/>
              </a:solidFill>
            </a:endParaRPr>
          </a:p>
          <a:p>
            <a:pPr marL="304800" lvl="1" indent="-30480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en-US" sz="1500" dirty="0" smtClean="0">
                <a:latin typeface="Arial" charset="0"/>
              </a:rPr>
              <a:t>Situation Assessment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Introduction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Strategic profile – Key issues and root causes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Financial profile</a:t>
            </a:r>
            <a:endParaRPr lang="en-US" sz="1500" dirty="0">
              <a:latin typeface="Arial" charset="0"/>
            </a:endParaRPr>
          </a:p>
          <a:p>
            <a:pPr marL="304800" lvl="1" indent="-30480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en-US" sz="1500" b="1" dirty="0" smtClean="0">
                <a:latin typeface="Arial" charset="0"/>
              </a:rPr>
              <a:t>Option Analysis </a:t>
            </a:r>
            <a:endParaRPr lang="en-US" sz="1500" b="1" dirty="0">
              <a:latin typeface="Arial" charset="0"/>
            </a:endParaRP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Options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Criteria for success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Recommendations </a:t>
            </a:r>
            <a:endParaRPr lang="en-US" sz="1500" dirty="0">
              <a:latin typeface="Arial" charset="0"/>
            </a:endParaRPr>
          </a:p>
          <a:p>
            <a:pPr marL="304800" lvl="1" indent="-30480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en-US" sz="1500" dirty="0" smtClean="0">
                <a:latin typeface="Arial" charset="0"/>
              </a:rPr>
              <a:t>Turnaround plan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Execution issues and priorities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Timeline </a:t>
            </a:r>
            <a:endParaRPr lang="en-US" sz="1500" dirty="0">
              <a:latin typeface="Arial" charset="0"/>
            </a:endParaRPr>
          </a:p>
          <a:p>
            <a:pPr marL="304800" lvl="1" indent="-30480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en-US" sz="1500" dirty="0" smtClean="0">
                <a:latin typeface="Arial" charset="0"/>
              </a:rPr>
              <a:t>Financial projections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How elements of Turnaround plan effect projections </a:t>
            </a:r>
          </a:p>
          <a:p>
            <a:pPr marL="857250" lvl="3" indent="-40005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UcPeriod"/>
            </a:pPr>
            <a:r>
              <a:rPr lang="en-US" sz="1500" dirty="0" smtClean="0">
                <a:latin typeface="Arial" charset="0"/>
              </a:rPr>
              <a:t>Measures to measure turnaround success </a:t>
            </a:r>
            <a:endParaRPr lang="en-US" sz="1500" dirty="0">
              <a:latin typeface="Arial" charset="0"/>
            </a:endParaRPr>
          </a:p>
          <a:p>
            <a:pPr marL="304800" lvl="1" indent="-304800" defTabSz="895350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en-US" sz="1500" dirty="0" smtClean="0">
                <a:latin typeface="Arial" charset="0"/>
              </a:rPr>
              <a:t>Conclusion </a:t>
            </a:r>
            <a:endParaRPr lang="en-US" sz="1500" dirty="0">
              <a:latin typeface="Arial" charset="0"/>
            </a:endParaRPr>
          </a:p>
        </p:txBody>
      </p:sp>
      <p:sp>
        <p:nvSpPr>
          <p:cNvPr id="14" name="3 Rectángulo"/>
          <p:cNvSpPr/>
          <p:nvPr/>
        </p:nvSpPr>
        <p:spPr>
          <a:xfrm>
            <a:off x="323850" y="650363"/>
            <a:ext cx="8496300" cy="35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GT"/>
          </a:p>
        </p:txBody>
      </p:sp>
      <p:pic>
        <p:nvPicPr>
          <p:cNvPr id="13" name="Picture 12" descr="BB logo 4.jpg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43800" y="228600"/>
            <a:ext cx="1371600" cy="302383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Rs69u.wiskedViDMUwA33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bvxbhqhk6zIoJaYQqd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UH16fhZkehoFtX_Duvb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P64MoLJUirIc1COkcOL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C2GySpEEasZZ9dH.Ji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C2GySpEEasZZ9dH.Ji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C2GySpEEasZZ9dH.Jik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C2GySpEEasZZ9dH.Ji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C2GySpEEasZZ9dH.Jik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C2GySpEEasZZ9dH.Ji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XWzjISfnuUSGJFzYj4Tam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yDuQY0I06kEK7K7ZXlE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yDuQY0I06kEK7K7ZXlE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nkgBsHdUSNeolLhP8r7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GpXdNbbObkyYnj7KJSQKq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hn464B70.Xmnoaj5WAV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yDuQY0I06kEK7K7ZXlE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csj8_7h0K8vTMyG6CG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XWzjISfnuUSGJFzYj4Tam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csj8_7h0K8vTMyG6CGQ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csj8_7h0K8vTMyG6CGQ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4SJrp3M0S2afv5Z7tVa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ONu6S3uUihMppvRDTF1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xpH9lBU0Cqf6oIdJJio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mUwGBq0EaALIqCq64kN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VU6NdzP02I2xeZvlss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RESIZE" val="Yes"/>
  <p:tag name="THINKCELLSHAPEDONOTDELETE" val="pfHr_9NuY90Kn2e4YQx2so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_xZq0AoEalH89KfZwQv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z2Gf2XE0WFqdAqdIKty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JTbJt7rEmi_7b1C6Ue3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0EtaZ5kUuwotOUg.ZB.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sNcdeh1EqNwNaVBPOk_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TI8nUj6UOhoE9gP4yN2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Bwv4.1IkyM2.F2ZuWUr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8sqDbyIEyuH1gDh8uB4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0EtaZ5kUuwotOUg.ZB.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jKn4G0AEqIpwMLT7On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CRxTvIlUeif2kghgd.l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UCMBUHs0Oi1_jxUNhDP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OoGZkL50OEtf8mYssZd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jg3nAlFk.KN4vnTwvep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QI.50r6E.9agOgWBViS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zNb7BTsEy3_jFO2._s2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Mag0jWDEqis3S0nWGtA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uPExW8c40CY6s2e.Khuo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uPExW8c40CY6s2e.Khu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yDuQY0I06kEK7K7ZXlE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yDuQY0I06kEK7K7ZXlE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yDuQY0I06kEK7K7ZXlE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yDuQY0I06kEK7K7ZXlE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yDuQY0I06kEK7K7ZXl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KSXuAMZUuFopREM0A64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yDuQY0I06kEK7K7ZXlE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yDuQY0I06kEK7K7ZXlE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uPExW8c40CY6s2e.Khuo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yDuQY0I06kEK7K7ZXlE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yDuQY0I06kEK7K7ZXl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m07Wtljk.gt99VaJPbk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yDuQY0I06kEK7K7ZXlE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uPExW8c40CY6s2e.Khuo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yDuQY0I06kEK7K7ZXlE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yDuQY0I06kEK7K7ZXlE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yDuQY0I06kEK7K7ZXlE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yDuQY0I06kEK7K7ZXlE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iV4jAmFUmlZk25jguho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Rs69u.wiskedViDMUwA33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XWzjISfnuUSGJFzYj4Tam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odule.thmx</Template>
  <TotalTime>2484</TotalTime>
  <Words>3246</Words>
  <Application>Microsoft Macintosh PowerPoint</Application>
  <PresentationFormat>On-screen Show (4:3)</PresentationFormat>
  <Paragraphs>1053</Paragraphs>
  <Slides>30</Slides>
  <Notes>2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2" baseType="lpstr">
      <vt:lpstr>Office Theme</vt:lpstr>
      <vt:lpstr>think-cell Slide</vt:lpstr>
      <vt:lpstr>Blackberry Limited (TSX:BB)</vt:lpstr>
      <vt:lpstr>Agenda:</vt:lpstr>
      <vt:lpstr>The inventor of the modern ‘Smartphone’</vt:lpstr>
      <vt:lpstr> 4 years in Hell…</vt:lpstr>
      <vt:lpstr>PowerPoint Presentation</vt:lpstr>
      <vt:lpstr>Income Sheet effects….</vt:lpstr>
      <vt:lpstr>PowerPoint Presentation</vt:lpstr>
      <vt:lpstr>PowerPoint Presentation</vt:lpstr>
      <vt:lpstr>AGENDA</vt:lpstr>
      <vt:lpstr>Burning Fingers….</vt:lpstr>
      <vt:lpstr>What exactly are Blackberry Options??</vt:lpstr>
      <vt:lpstr> </vt:lpstr>
      <vt:lpstr> </vt:lpstr>
      <vt:lpstr> </vt:lpstr>
      <vt:lpstr>PowerPoint Presentation</vt:lpstr>
      <vt:lpstr>So how do we select our options??</vt:lpstr>
      <vt:lpstr>So how do we select our options??</vt:lpstr>
      <vt:lpstr>AGENDA</vt:lpstr>
      <vt:lpstr>Execution Road Map</vt:lpstr>
      <vt:lpstr>Timeline and Issues during restructuring</vt:lpstr>
      <vt:lpstr>Timeline</vt:lpstr>
      <vt:lpstr>AGENDA</vt:lpstr>
      <vt:lpstr>How will elements of Turnaround plan  effect projections ??</vt:lpstr>
      <vt:lpstr>Revenue Projections</vt:lpstr>
      <vt:lpstr>Income Statement Projections</vt:lpstr>
      <vt:lpstr>Measures to measure turnaround success</vt:lpstr>
      <vt:lpstr>Questions?</vt:lpstr>
      <vt:lpstr>Exhibit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NSAS Engagement Update</dc:title>
  <dc:creator>shashank</dc:creator>
  <cp:lastModifiedBy>chethan</cp:lastModifiedBy>
  <cp:revision>101</cp:revision>
  <dcterms:created xsi:type="dcterms:W3CDTF">2011-10-10T11:20:42Z</dcterms:created>
  <dcterms:modified xsi:type="dcterms:W3CDTF">2013-10-23T13:43:27Z</dcterms:modified>
</cp:coreProperties>
</file>